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6"/>
  </p:notesMasterIdLst>
  <p:sldIdLst>
    <p:sldId id="3343" r:id="rId5"/>
    <p:sldId id="2147375017" r:id="rId6"/>
    <p:sldId id="3346" r:id="rId7"/>
    <p:sldId id="2145705568" r:id="rId8"/>
    <p:sldId id="2145705566" r:id="rId9"/>
    <p:sldId id="2147375019" r:id="rId10"/>
    <p:sldId id="258" r:id="rId11"/>
    <p:sldId id="265" r:id="rId12"/>
    <p:sldId id="2147375021" r:id="rId13"/>
    <p:sldId id="256" r:id="rId14"/>
    <p:sldId id="340" r:id="rId15"/>
    <p:sldId id="2147375038" r:id="rId16"/>
    <p:sldId id="2147375039" r:id="rId17"/>
    <p:sldId id="681" r:id="rId18"/>
    <p:sldId id="2147375026" r:id="rId19"/>
    <p:sldId id="2145705902" r:id="rId20"/>
    <p:sldId id="2147375041" r:id="rId21"/>
    <p:sldId id="2147375042" r:id="rId22"/>
    <p:sldId id="2147375032" r:id="rId23"/>
    <p:sldId id="2147375037" r:id="rId24"/>
    <p:sldId id="2147375036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20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1CD5AA-9DFB-306F-CBFC-3D3C2BF7DB7A}" v="1" dt="2023-06-20T14:59:19.836"/>
    <p1510:client id="{1F102718-2C94-1908-4B87-2D66DDF626E9}" v="1" dt="2023-06-20T06:29:31.963"/>
    <p1510:client id="{82DA61F6-4BCC-5F42-9CFC-F42AA279B3B8}" v="1" dt="2023-06-17T06:53:12.48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148" autoAdjust="0"/>
    <p:restoredTop sz="96327"/>
  </p:normalViewPr>
  <p:slideViewPr>
    <p:cSldViewPr snapToGrid="0">
      <p:cViewPr varScale="1">
        <p:scale>
          <a:sx n="123" d="100"/>
          <a:sy n="123" d="100"/>
        </p:scale>
        <p:origin x="132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hen Gao" userId="S::zhen.gao@biogen.com::753ca5ad-a66a-4072-86ff-fe9bc8c0233d" providerId="AD" clId="Web-{1F102718-2C94-1908-4B87-2D66DDF626E9}"/>
    <pc:docChg chg="modSld">
      <pc:chgData name="Zhen Gao" userId="S::zhen.gao@biogen.com::753ca5ad-a66a-4072-86ff-fe9bc8c0233d" providerId="AD" clId="Web-{1F102718-2C94-1908-4B87-2D66DDF626E9}" dt="2023-06-20T06:29:31.963" v="0"/>
      <pc:docMkLst>
        <pc:docMk/>
      </pc:docMkLst>
      <pc:sldChg chg="delSp">
        <pc:chgData name="Zhen Gao" userId="S::zhen.gao@biogen.com::753ca5ad-a66a-4072-86ff-fe9bc8c0233d" providerId="AD" clId="Web-{1F102718-2C94-1908-4B87-2D66DDF626E9}" dt="2023-06-20T06:29:31.963" v="0"/>
        <pc:sldMkLst>
          <pc:docMk/>
          <pc:sldMk cId="2270139844" sldId="265"/>
        </pc:sldMkLst>
        <pc:spChg chg="del">
          <ac:chgData name="Zhen Gao" userId="S::zhen.gao@biogen.com::753ca5ad-a66a-4072-86ff-fe9bc8c0233d" providerId="AD" clId="Web-{1F102718-2C94-1908-4B87-2D66DDF626E9}" dt="2023-06-20T06:29:31.963" v="0"/>
          <ac:spMkLst>
            <pc:docMk/>
            <pc:sldMk cId="2270139844" sldId="265"/>
            <ac:spMk id="6" creationId="{87CCBC24-E4A7-8086-82C5-6E34ABEE8098}"/>
          </ac:spMkLst>
        </pc:spChg>
      </pc:sldChg>
    </pc:docChg>
  </pc:docChgLst>
  <pc:docChgLst>
    <pc:chgData name="Soumya Negi" userId="S::soumya.negi@biogen.com::af513008-26f4-4e6b-822c-f6301a5f2ab2" providerId="AD" clId="Web-{0A1CD5AA-9DFB-306F-CBFC-3D3C2BF7DB7A}"/>
    <pc:docChg chg="modSld">
      <pc:chgData name="Soumya Negi" userId="S::soumya.negi@biogen.com::af513008-26f4-4e6b-822c-f6301a5f2ab2" providerId="AD" clId="Web-{0A1CD5AA-9DFB-306F-CBFC-3D3C2BF7DB7A}" dt="2023-06-20T14:59:19.836" v="0" actId="1076"/>
      <pc:docMkLst>
        <pc:docMk/>
      </pc:docMkLst>
      <pc:sldChg chg="modSp">
        <pc:chgData name="Soumya Negi" userId="S::soumya.negi@biogen.com::af513008-26f4-4e6b-822c-f6301a5f2ab2" providerId="AD" clId="Web-{0A1CD5AA-9DFB-306F-CBFC-3D3C2BF7DB7A}" dt="2023-06-20T14:59:19.836" v="0" actId="1076"/>
        <pc:sldMkLst>
          <pc:docMk/>
          <pc:sldMk cId="2027722542" sldId="2147375041"/>
        </pc:sldMkLst>
        <pc:spChg chg="mod">
          <ac:chgData name="Soumya Negi" userId="S::soumya.negi@biogen.com::af513008-26f4-4e6b-822c-f6301a5f2ab2" providerId="AD" clId="Web-{0A1CD5AA-9DFB-306F-CBFC-3D3C2BF7DB7A}" dt="2023-06-20T14:59:19.836" v="0" actId="1076"/>
          <ac:spMkLst>
            <pc:docMk/>
            <pc:sldMk cId="2027722542" sldId="2147375041"/>
            <ac:spMk id="3" creationId="{FDB2E005-BA5F-E4A7-D47D-B7E5F4F47E52}"/>
          </ac:spMkLst>
        </pc:spChg>
      </pc:sldChg>
    </pc:docChg>
  </pc:docChgLst>
  <pc:docChgLst>
    <pc:chgData name="Zhen Gao" userId="753ca5ad-a66a-4072-86ff-fe9bc8c0233d" providerId="ADAL" clId="{82DA61F6-4BCC-5F42-9CFC-F42AA279B3B8}"/>
    <pc:docChg chg="custSel addSld delSld modSld sldOrd">
      <pc:chgData name="Zhen Gao" userId="753ca5ad-a66a-4072-86ff-fe9bc8c0233d" providerId="ADAL" clId="{82DA61F6-4BCC-5F42-9CFC-F42AA279B3B8}" dt="2023-06-20T06:28:42.485" v="738" actId="20577"/>
      <pc:docMkLst>
        <pc:docMk/>
      </pc:docMkLst>
      <pc:sldChg chg="modSp add mod ord modTransition">
        <pc:chgData name="Zhen Gao" userId="753ca5ad-a66a-4072-86ff-fe9bc8c0233d" providerId="ADAL" clId="{82DA61F6-4BCC-5F42-9CFC-F42AA279B3B8}" dt="2023-06-20T06:19:27.322" v="481" actId="207"/>
        <pc:sldMkLst>
          <pc:docMk/>
          <pc:sldMk cId="2888273451" sldId="2147375026"/>
        </pc:sldMkLst>
        <pc:spChg chg="mod">
          <ac:chgData name="Zhen Gao" userId="753ca5ad-a66a-4072-86ff-fe9bc8c0233d" providerId="ADAL" clId="{82DA61F6-4BCC-5F42-9CFC-F42AA279B3B8}" dt="2023-06-20T06:19:27.322" v="481" actId="207"/>
          <ac:spMkLst>
            <pc:docMk/>
            <pc:sldMk cId="2888273451" sldId="2147375026"/>
            <ac:spMk id="2" creationId="{29AF49ED-EAF7-F2EB-EB55-8B4B2761484D}"/>
          </ac:spMkLst>
        </pc:spChg>
      </pc:sldChg>
      <pc:sldChg chg="add modTransition">
        <pc:chgData name="Zhen Gao" userId="753ca5ad-a66a-4072-86ff-fe9bc8c0233d" providerId="ADAL" clId="{82DA61F6-4BCC-5F42-9CFC-F42AA279B3B8}" dt="2023-06-17T06:53:12.479" v="0"/>
        <pc:sldMkLst>
          <pc:docMk/>
          <pc:sldMk cId="2260519135" sldId="2147375032"/>
        </pc:sldMkLst>
      </pc:sldChg>
      <pc:sldChg chg="add modTransition">
        <pc:chgData name="Zhen Gao" userId="753ca5ad-a66a-4072-86ff-fe9bc8c0233d" providerId="ADAL" clId="{82DA61F6-4BCC-5F42-9CFC-F42AA279B3B8}" dt="2023-06-17T06:53:12.479" v="0"/>
        <pc:sldMkLst>
          <pc:docMk/>
          <pc:sldMk cId="3312618218" sldId="2147375036"/>
        </pc:sldMkLst>
      </pc:sldChg>
      <pc:sldChg chg="add modTransition">
        <pc:chgData name="Zhen Gao" userId="753ca5ad-a66a-4072-86ff-fe9bc8c0233d" providerId="ADAL" clId="{82DA61F6-4BCC-5F42-9CFC-F42AA279B3B8}" dt="2023-06-17T06:53:12.479" v="0"/>
        <pc:sldMkLst>
          <pc:docMk/>
          <pc:sldMk cId="3277848643" sldId="2147375037"/>
        </pc:sldMkLst>
      </pc:sldChg>
      <pc:sldChg chg="addSp delSp modSp new mod">
        <pc:chgData name="Zhen Gao" userId="753ca5ad-a66a-4072-86ff-fe9bc8c0233d" providerId="ADAL" clId="{82DA61F6-4BCC-5F42-9CFC-F42AA279B3B8}" dt="2023-06-20T06:14:15.457" v="73" actId="1076"/>
        <pc:sldMkLst>
          <pc:docMk/>
          <pc:sldMk cId="1935788925" sldId="2147375038"/>
        </pc:sldMkLst>
        <pc:spChg chg="add mod">
          <ac:chgData name="Zhen Gao" userId="753ca5ad-a66a-4072-86ff-fe9bc8c0233d" providerId="ADAL" clId="{82DA61F6-4BCC-5F42-9CFC-F42AA279B3B8}" dt="2023-06-20T06:14:00.580" v="56" actId="20577"/>
          <ac:spMkLst>
            <pc:docMk/>
            <pc:sldMk cId="1935788925" sldId="2147375038"/>
            <ac:spMk id="8" creationId="{DDB7B798-2D90-F407-64DD-25FB289DE50E}"/>
          </ac:spMkLst>
        </pc:spChg>
        <pc:picChg chg="add del mod">
          <ac:chgData name="Zhen Gao" userId="753ca5ad-a66a-4072-86ff-fe9bc8c0233d" providerId="ADAL" clId="{82DA61F6-4BCC-5F42-9CFC-F42AA279B3B8}" dt="2023-06-20T06:11:56.054" v="6" actId="478"/>
          <ac:picMkLst>
            <pc:docMk/>
            <pc:sldMk cId="1935788925" sldId="2147375038"/>
            <ac:picMk id="3" creationId="{F9075F5F-D678-6CF3-D510-391A35F92316}"/>
          </ac:picMkLst>
        </pc:picChg>
        <pc:picChg chg="add mod">
          <ac:chgData name="Zhen Gao" userId="753ca5ad-a66a-4072-86ff-fe9bc8c0233d" providerId="ADAL" clId="{82DA61F6-4BCC-5F42-9CFC-F42AA279B3B8}" dt="2023-06-20T06:14:11.323" v="72" actId="1036"/>
          <ac:picMkLst>
            <pc:docMk/>
            <pc:sldMk cId="1935788925" sldId="2147375038"/>
            <ac:picMk id="5" creationId="{2831A777-00A6-FC1D-5037-152242140B89}"/>
          </ac:picMkLst>
        </pc:picChg>
        <pc:picChg chg="add mod">
          <ac:chgData name="Zhen Gao" userId="753ca5ad-a66a-4072-86ff-fe9bc8c0233d" providerId="ADAL" clId="{82DA61F6-4BCC-5F42-9CFC-F42AA279B3B8}" dt="2023-06-20T06:14:15.457" v="73" actId="1076"/>
          <ac:picMkLst>
            <pc:docMk/>
            <pc:sldMk cId="1935788925" sldId="2147375038"/>
            <ac:picMk id="7" creationId="{F270205D-61EB-906A-023D-E278D2B0084E}"/>
          </ac:picMkLst>
        </pc:picChg>
      </pc:sldChg>
      <pc:sldChg chg="addSp modSp new mod">
        <pc:chgData name="Zhen Gao" userId="753ca5ad-a66a-4072-86ff-fe9bc8c0233d" providerId="ADAL" clId="{82DA61F6-4BCC-5F42-9CFC-F42AA279B3B8}" dt="2023-06-20T06:14:33.439" v="78" actId="14100"/>
        <pc:sldMkLst>
          <pc:docMk/>
          <pc:sldMk cId="959553882" sldId="2147375039"/>
        </pc:sldMkLst>
        <pc:spChg chg="add mod">
          <ac:chgData name="Zhen Gao" userId="753ca5ad-a66a-4072-86ff-fe9bc8c0233d" providerId="ADAL" clId="{82DA61F6-4BCC-5F42-9CFC-F42AA279B3B8}" dt="2023-06-20T06:14:21.415" v="74"/>
          <ac:spMkLst>
            <pc:docMk/>
            <pc:sldMk cId="959553882" sldId="2147375039"/>
            <ac:spMk id="6" creationId="{809A1CDC-F56C-370C-4696-D970055822B8}"/>
          </ac:spMkLst>
        </pc:spChg>
        <pc:picChg chg="add mod">
          <ac:chgData name="Zhen Gao" userId="753ca5ad-a66a-4072-86ff-fe9bc8c0233d" providerId="ADAL" clId="{82DA61F6-4BCC-5F42-9CFC-F42AA279B3B8}" dt="2023-06-20T06:14:33.439" v="78" actId="14100"/>
          <ac:picMkLst>
            <pc:docMk/>
            <pc:sldMk cId="959553882" sldId="2147375039"/>
            <ac:picMk id="3" creationId="{7DC1FEE0-DF22-62DD-5F61-1FE4D855B054}"/>
          </ac:picMkLst>
        </pc:picChg>
        <pc:picChg chg="add mod">
          <ac:chgData name="Zhen Gao" userId="753ca5ad-a66a-4072-86ff-fe9bc8c0233d" providerId="ADAL" clId="{82DA61F6-4BCC-5F42-9CFC-F42AA279B3B8}" dt="2023-06-20T06:14:27.821" v="76" actId="14100"/>
          <ac:picMkLst>
            <pc:docMk/>
            <pc:sldMk cId="959553882" sldId="2147375039"/>
            <ac:picMk id="5" creationId="{2602D255-87FB-FF48-5A25-F75080075668}"/>
          </ac:picMkLst>
        </pc:picChg>
      </pc:sldChg>
      <pc:sldChg chg="new del ord">
        <pc:chgData name="Zhen Gao" userId="753ca5ad-a66a-4072-86ff-fe9bc8c0233d" providerId="ADAL" clId="{82DA61F6-4BCC-5F42-9CFC-F42AA279B3B8}" dt="2023-06-20T06:24:46.623" v="489" actId="2696"/>
        <pc:sldMkLst>
          <pc:docMk/>
          <pc:sldMk cId="2873339904" sldId="2147375040"/>
        </pc:sldMkLst>
      </pc:sldChg>
      <pc:sldChg chg="delSp new del mod">
        <pc:chgData name="Zhen Gao" userId="753ca5ad-a66a-4072-86ff-fe9bc8c0233d" providerId="ADAL" clId="{82DA61F6-4BCC-5F42-9CFC-F42AA279B3B8}" dt="2023-06-20T06:24:19.142" v="484" actId="2696"/>
        <pc:sldMkLst>
          <pc:docMk/>
          <pc:sldMk cId="3311372139" sldId="2147375040"/>
        </pc:sldMkLst>
        <pc:spChg chg="del">
          <ac:chgData name="Zhen Gao" userId="753ca5ad-a66a-4072-86ff-fe9bc8c0233d" providerId="ADAL" clId="{82DA61F6-4BCC-5F42-9CFC-F42AA279B3B8}" dt="2023-06-20T06:24:06.316" v="483" actId="478"/>
          <ac:spMkLst>
            <pc:docMk/>
            <pc:sldMk cId="3311372139" sldId="2147375040"/>
            <ac:spMk id="2" creationId="{7D178B7C-B87C-4C2A-9E51-FF8C483DB642}"/>
          </ac:spMkLst>
        </pc:spChg>
      </pc:sldChg>
      <pc:sldChg chg="addSp delSp modSp add mod ord">
        <pc:chgData name="Zhen Gao" userId="753ca5ad-a66a-4072-86ff-fe9bc8c0233d" providerId="ADAL" clId="{82DA61F6-4BCC-5F42-9CFC-F42AA279B3B8}" dt="2023-06-20T06:28:42.485" v="738" actId="20577"/>
        <pc:sldMkLst>
          <pc:docMk/>
          <pc:sldMk cId="2027722542" sldId="2147375041"/>
        </pc:sldMkLst>
        <pc:spChg chg="add mod">
          <ac:chgData name="Zhen Gao" userId="753ca5ad-a66a-4072-86ff-fe9bc8c0233d" providerId="ADAL" clId="{82DA61F6-4BCC-5F42-9CFC-F42AA279B3B8}" dt="2023-06-20T06:28:42.485" v="738" actId="20577"/>
          <ac:spMkLst>
            <pc:docMk/>
            <pc:sldMk cId="2027722542" sldId="2147375041"/>
            <ac:spMk id="3" creationId="{FDB2E005-BA5F-E4A7-D47D-B7E5F4F47E52}"/>
          </ac:spMkLst>
        </pc:spChg>
        <pc:spChg chg="mod">
          <ac:chgData name="Zhen Gao" userId="753ca5ad-a66a-4072-86ff-fe9bc8c0233d" providerId="ADAL" clId="{82DA61F6-4BCC-5F42-9CFC-F42AA279B3B8}" dt="2023-06-20T06:26:50.316" v="596" actId="20577"/>
          <ac:spMkLst>
            <pc:docMk/>
            <pc:sldMk cId="2027722542" sldId="2147375041"/>
            <ac:spMk id="4" creationId="{CDF8B4E8-D175-FB84-6B07-C06264004D3F}"/>
          </ac:spMkLst>
        </pc:spChg>
        <pc:picChg chg="del">
          <ac:chgData name="Zhen Gao" userId="753ca5ad-a66a-4072-86ff-fe9bc8c0233d" providerId="ADAL" clId="{82DA61F6-4BCC-5F42-9CFC-F42AA279B3B8}" dt="2023-06-20T06:24:50.269" v="490" actId="478"/>
          <ac:picMkLst>
            <pc:docMk/>
            <pc:sldMk cId="2027722542" sldId="2147375041"/>
            <ac:picMk id="5" creationId="{4C5C2A72-9952-FDC7-CA89-D949DCD0271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6E889C-2C59-1847-8C6B-C876D04F0052}" type="datetimeFigureOut">
              <a:rPr lang="en-US" smtClean="0"/>
              <a:t>7/18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8FCCFA-C4D0-1E44-B583-A03B2189E5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2961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2203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91498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843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4186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1533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0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E06F22-674D-08F8-F270-C52D412C08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A2517F-7422-E814-2324-79AA321CB2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552E9B-BBBE-CAF8-7D67-D16301F81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7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0A2F08-70A6-1B4F-979C-B378C44F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4242F-BA7D-3E7F-E595-33C575881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013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80CC8-A41B-7CE4-8EAC-965B8CDA6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F81291-A205-52C5-89C1-A537863EB0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B5821D-1A3B-D7DE-607B-33969D0D8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7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116F3-4612-C1AC-118B-B34B6D457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38328-63DB-32F4-877A-806A50D96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402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D33AC2-1AE0-6E99-EFCE-490B88CEB0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EFB8C8-4D39-41A3-1DCF-2CF31B05DF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1B8448-9940-C518-C1A8-CBCE4DB3A1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7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CDFD34-ED2C-0F32-9553-039674E5E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5727F1-1CF6-D312-7D16-58F248CCE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4707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97541" y="2231571"/>
            <a:ext cx="9780059" cy="1183904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rgbClr val="2573BA"/>
                </a:solidFill>
                <a:latin typeface="Arial"/>
                <a:cs typeface="Arial"/>
              </a:defRPr>
            </a:lvl1pPr>
          </a:lstStyle>
          <a:p>
            <a:r>
              <a:rPr lang="en-US" noProof="0"/>
              <a:t>End Slide</a:t>
            </a:r>
          </a:p>
        </p:txBody>
      </p:sp>
      <p:pic>
        <p:nvPicPr>
          <p:cNvPr id="7" name="Picture 6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  <p:pic>
        <p:nvPicPr>
          <p:cNvPr id="4" name="Picture 3" descr="logo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32" y="1216538"/>
            <a:ext cx="3249091" cy="1078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5097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76861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EB787-6DE8-CD03-C065-72D7C7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2020F2-EEF7-0CDA-6A08-A7885754EE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4763CA-A36D-4C49-6534-4E1B68E9C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7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436D66-9B71-AF9D-5B65-D0A10F2BAB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9EA6AB-97FE-02EA-5C87-3B429E4B9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46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3009A-EBA3-3491-A468-C4E819266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761B3D-777A-3F72-C658-7A85973BA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B620CF-52DC-3F6B-2AD8-86DC04BE2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7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0F819A-BA71-18CA-166D-44F8C99FB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020128-FE2A-F9F9-7687-E15C9751D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6326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2E142F-D485-38B7-5958-FA2D80E2F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83DD84-A30A-0E2B-27D3-DD96B0C126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19481B-9381-5AD2-5AE5-CDE13F70A3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B2087C-B2BF-593C-4A65-630A99C50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7/18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0E2C1B-71A5-BDC4-51DB-E0053F84A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CBD731-AD15-EC58-30BF-AC1D90B9B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8862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E1A6C-B589-3FC5-8281-CF21F278D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7AC41B-0762-1EC9-59D3-1F76D21AD5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2A8523-23CC-0982-02F0-4FD3086A7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CB3D4D-B63F-63D8-53AE-6F08F694F7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4B694D-F623-0063-C08E-4DF5A56B751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A03DAC-459B-16CB-C3B0-97682F69BB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7/18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80D9AE-6BD6-A156-2631-6B32E173D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BC6189-36A0-3576-C76C-CBF4C5A82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920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2A6D4A-2CA1-12F3-F187-A127CFCA5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FE1663-C1C4-FF8E-BC80-4E1513B38B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7/18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73D30-CE64-D248-C921-5C6534DA6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87861-7B80-2724-9267-B6525C2EC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327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46AC74-C028-14DB-4DAB-3949B219A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7/18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236ABF-654B-9294-9DCB-FDF391F10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34ECF9-10EF-0E0D-0493-BC5F928D9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906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6E81BF-38B5-FE68-394E-ED8525C7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C97667-AACC-2DD3-4281-176C6E2610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921FE7-54DE-FFEB-479E-8FF4383E23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5F1946-9A03-096D-50EA-99EE68695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7/18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A40FF6-CEA6-A433-CDD6-D362B6213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50077C-A481-0880-329B-7A45BE9B1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1041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30B57-12A6-0EEF-DFA7-40C41CA20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50479B-A24E-95AD-8B89-248321BB4B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2A3E53-3FD1-5D51-D660-60A32200EF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F20E89-5E9E-BC17-4253-B763E2567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7/18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3562AF-9737-B58B-5D87-AA29CA091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68DED7-1A90-9736-90B5-1F9952937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956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61F0E8-E3D0-3CF6-D2A8-5172280BD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1D5179-D7EE-487E-C50F-20DC102B3A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51ED1-1828-2B24-7E60-16DECC2824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FAC2DA-610F-4D32-B494-6EAFA7CFA318}" type="datetimeFigureOut">
              <a:rPr lang="en-US" smtClean="0"/>
              <a:t>7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3860D1-32BB-FD0E-7E72-0D00570A0C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A00DE6-C4BA-93F0-0976-9ECE4A95B8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15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3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2.bin"/><Relationship Id="rId9" Type="http://schemas.openxmlformats.org/officeDocument/2006/relationships/image" Target="../media/image12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2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image" Target="../media/image2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6" Type="http://schemas.openxmlformats.org/officeDocument/2006/relationships/image" Target="../media/image2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3.emf"/><Relationship Id="rId10" Type="http://schemas.openxmlformats.org/officeDocument/2006/relationships/package" Target="../embeddings/Microsoft_Excel_Worksheet2.xlsx"/><Relationship Id="rId4" Type="http://schemas.openxmlformats.org/officeDocument/2006/relationships/oleObject" Target="../embeddings/oleObject2.bin"/><Relationship Id="rId9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3E0F57-89E1-4CD1-941E-530065FCE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3E0F57-89E1-4CD1-941E-530065FCE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36E90A-9756-4DAA-A5C0-5BBB46DDE1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B49B9A8-7362-4FFB-9503-B3F42D92B70A}"/>
              </a:ext>
            </a:extLst>
          </p:cNvPr>
          <p:cNvSpPr txBox="1">
            <a:spLocks/>
          </p:cNvSpPr>
          <p:nvPr/>
        </p:nvSpPr>
        <p:spPr>
          <a:xfrm>
            <a:off x="915955" y="4904627"/>
            <a:ext cx="4465469" cy="6978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267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1pPr>
            <a:lvl2pPr marL="609585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4267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2pPr>
            <a:lvl3pPr marL="1219170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3pPr>
            <a:lvl4pPr marL="1828754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4pPr>
            <a:lvl5pPr marL="2438339" indent="-609585" algn="l" defTabSz="609585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-"/>
              <a:defRPr sz="3200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Zhen, Dann, Catherine, Joon, Magnus, Jessica</a:t>
            </a:r>
          </a:p>
          <a:p>
            <a:pPr>
              <a:spcBef>
                <a:spcPts val="200"/>
              </a:spcBef>
            </a:pPr>
            <a:r>
              <a:rPr lang="en-US" sz="1400" b="1" i="1" dirty="0">
                <a:solidFill>
                  <a:schemeClr val="tx1"/>
                </a:solidFill>
                <a:cs typeface="Arial"/>
              </a:rPr>
              <a:t>July </a:t>
            </a:r>
            <a:r>
              <a:rPr lang="en-US" altLang="zh-CN" sz="1400" b="1" i="1" dirty="0">
                <a:solidFill>
                  <a:schemeClr val="tx1"/>
                </a:solidFill>
                <a:cs typeface="Arial"/>
              </a:rPr>
              <a:t>18</a:t>
            </a:r>
            <a:r>
              <a:rPr lang="en-US" sz="1400" b="1" i="1" dirty="0">
                <a:solidFill>
                  <a:schemeClr val="tx1"/>
                </a:solidFill>
                <a:cs typeface="Arial"/>
              </a:rPr>
              <a:t>, 2023</a:t>
            </a:r>
          </a:p>
          <a:p>
            <a:pPr algn="l">
              <a:spcBef>
                <a:spcPts val="200"/>
              </a:spcBef>
            </a:pPr>
            <a:endParaRPr lang="en-US" sz="1400" b="1" i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C6CDA-96EF-4992-9AF2-6F15731BF403}"/>
              </a:ext>
            </a:extLst>
          </p:cNvPr>
          <p:cNvSpPr txBox="1"/>
          <p:nvPr/>
        </p:nvSpPr>
        <p:spPr>
          <a:xfrm>
            <a:off x="737825" y="2648080"/>
            <a:ext cx="106031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RNAseq for HTT Splicing Enhancers</a:t>
            </a:r>
          </a:p>
          <a:p>
            <a:pPr algn="ctr"/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DEG vs DSG  </a:t>
            </a:r>
          </a:p>
        </p:txBody>
      </p:sp>
    </p:spTree>
    <p:extLst>
      <p:ext uri="{BB962C8B-B14F-4D97-AF65-F5344CB8AC3E}">
        <p14:creationId xmlns:p14="http://schemas.microsoft.com/office/powerpoint/2010/main" val="24230956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2039752-91D1-5C56-9749-A833A8FF4C36}"/>
              </a:ext>
            </a:extLst>
          </p:cNvPr>
          <p:cNvSpPr txBox="1"/>
          <p:nvPr/>
        </p:nvSpPr>
        <p:spPr>
          <a:xfrm>
            <a:off x="307746" y="391886"/>
            <a:ext cx="4951773" cy="646331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/>
              <a:t>HTT sashimi-plot across 3 cell types</a:t>
            </a:r>
          </a:p>
        </p:txBody>
      </p:sp>
      <p:pic>
        <p:nvPicPr>
          <p:cNvPr id="30" name="Picture 29" descr="A picture containing text, screenshot, colorfulness, diagram&#10;&#10;Description automatically generated">
            <a:extLst>
              <a:ext uri="{FF2B5EF4-FFF2-40B4-BE49-F238E27FC236}">
                <a16:creationId xmlns:a16="http://schemas.microsoft.com/office/drawing/2014/main" id="{A2C8F4A4-BFAC-6DCD-9D94-FE79B90FB0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5157" y="0"/>
            <a:ext cx="4223002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528F45B-8C77-14D3-A1F6-FF110931FA5E}"/>
              </a:ext>
            </a:extLst>
          </p:cNvPr>
          <p:cNvSpPr/>
          <p:nvPr/>
        </p:nvSpPr>
        <p:spPr>
          <a:xfrm>
            <a:off x="7201845" y="68013"/>
            <a:ext cx="876615" cy="19346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637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F791890-9668-4113-599F-534F33E748E9}"/>
              </a:ext>
            </a:extLst>
          </p:cNvPr>
          <p:cNvCxnSpPr/>
          <p:nvPr/>
        </p:nvCxnSpPr>
        <p:spPr>
          <a:xfrm>
            <a:off x="470139" y="1755857"/>
            <a:ext cx="2725271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CA5A2A1E-6EC5-36F9-9537-A9F819195BB2}"/>
              </a:ext>
            </a:extLst>
          </p:cNvPr>
          <p:cNvSpPr/>
          <p:nvPr/>
        </p:nvSpPr>
        <p:spPr>
          <a:xfrm>
            <a:off x="676328" y="1621388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BBEED91-E8DC-708E-5007-E4945019F1B3}"/>
              </a:ext>
            </a:extLst>
          </p:cNvPr>
          <p:cNvSpPr/>
          <p:nvPr/>
        </p:nvSpPr>
        <p:spPr>
          <a:xfrm>
            <a:off x="2666493" y="1621387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A9A1BE-9834-49D0-AD92-7FE0DABF5F79}"/>
              </a:ext>
            </a:extLst>
          </p:cNvPr>
          <p:cNvSpPr/>
          <p:nvPr/>
        </p:nvSpPr>
        <p:spPr>
          <a:xfrm>
            <a:off x="1577281" y="1621387"/>
            <a:ext cx="546847" cy="26894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Cryptic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AAED9-ED3F-D7DF-21B6-9CA33318AF8C}"/>
              </a:ext>
            </a:extLst>
          </p:cNvPr>
          <p:cNvCxnSpPr>
            <a:cxnSpLocks/>
            <a:stCxn id="10" idx="3"/>
          </p:cNvCxnSpPr>
          <p:nvPr/>
        </p:nvCxnSpPr>
        <p:spPr>
          <a:xfrm flipV="1">
            <a:off x="1034916" y="1236511"/>
            <a:ext cx="719304" cy="51934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8D05319-9789-B3CD-1F14-4C73D4DBD1C4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1754220" y="1236511"/>
            <a:ext cx="912273" cy="51934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45C6E7A6-21DC-99F6-8DC7-2EBEA7545D5D}"/>
              </a:ext>
            </a:extLst>
          </p:cNvPr>
          <p:cNvSpPr txBox="1"/>
          <p:nvPr/>
        </p:nvSpPr>
        <p:spPr>
          <a:xfrm>
            <a:off x="1075098" y="822950"/>
            <a:ext cx="15153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/>
              <a:t>Canonical splic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CDD7F57-6BFF-24FB-7060-41CD55C4CD77}"/>
              </a:ext>
            </a:extLst>
          </p:cNvPr>
          <p:cNvSpPr/>
          <p:nvPr/>
        </p:nvSpPr>
        <p:spPr>
          <a:xfrm>
            <a:off x="4547263" y="1392723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6AB1CB-D669-9630-309E-CC9695078624}"/>
              </a:ext>
            </a:extLst>
          </p:cNvPr>
          <p:cNvSpPr/>
          <p:nvPr/>
        </p:nvSpPr>
        <p:spPr>
          <a:xfrm>
            <a:off x="4905851" y="1392723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94D441B-1D3D-B16B-AFE6-18103209021E}"/>
              </a:ext>
            </a:extLst>
          </p:cNvPr>
          <p:cNvSpPr txBox="1"/>
          <p:nvPr/>
        </p:nvSpPr>
        <p:spPr>
          <a:xfrm>
            <a:off x="4327192" y="1764419"/>
            <a:ext cx="13244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 dirty="0"/>
              <a:t>Stable mRNA</a:t>
            </a:r>
          </a:p>
          <a:p>
            <a:r>
              <a:rPr lang="en-US" sz="1400" b="1" i="1" dirty="0"/>
              <a:t>Normal protei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53E0054-F817-E811-CA5F-39E9CE5ADA32}"/>
              </a:ext>
            </a:extLst>
          </p:cNvPr>
          <p:cNvCxnSpPr>
            <a:cxnSpLocks/>
            <a:endCxn id="10" idx="3"/>
          </p:cNvCxnSpPr>
          <p:nvPr/>
        </p:nvCxnSpPr>
        <p:spPr>
          <a:xfrm flipH="1" flipV="1">
            <a:off x="1034916" y="1755859"/>
            <a:ext cx="279275" cy="2689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6BD0147-CA4F-4AF3-9189-0224023423B2}"/>
              </a:ext>
            </a:extLst>
          </p:cNvPr>
          <p:cNvCxnSpPr>
            <a:cxnSpLocks/>
            <a:endCxn id="12" idx="1"/>
          </p:cNvCxnSpPr>
          <p:nvPr/>
        </p:nvCxnSpPr>
        <p:spPr>
          <a:xfrm flipV="1">
            <a:off x="1314191" y="1755858"/>
            <a:ext cx="263090" cy="26894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E9BA976-5376-6B69-E662-F586222304BD}"/>
              </a:ext>
            </a:extLst>
          </p:cNvPr>
          <p:cNvCxnSpPr>
            <a:cxnSpLocks/>
            <a:endCxn id="12" idx="3"/>
          </p:cNvCxnSpPr>
          <p:nvPr/>
        </p:nvCxnSpPr>
        <p:spPr>
          <a:xfrm flipH="1" flipV="1">
            <a:off x="2124128" y="1755858"/>
            <a:ext cx="263090" cy="2689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B58EAF0-A536-9335-89F4-4DF8F9D8F856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2387218" y="1755858"/>
            <a:ext cx="279275" cy="2689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D9045246-7DC6-16DF-5C04-98B65A68E483}"/>
              </a:ext>
            </a:extLst>
          </p:cNvPr>
          <p:cNvSpPr txBox="1"/>
          <p:nvPr/>
        </p:nvSpPr>
        <p:spPr>
          <a:xfrm>
            <a:off x="1093028" y="2101897"/>
            <a:ext cx="13040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/>
              <a:t>SM-promoted</a:t>
            </a:r>
          </a:p>
          <a:p>
            <a:r>
              <a:rPr lang="en-US" sz="1400" b="1" i="1"/>
              <a:t>Cryptic splicing</a:t>
            </a:r>
          </a:p>
        </p:txBody>
      </p: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FB6FF93A-93E2-8B25-1972-084274B88765}"/>
              </a:ext>
            </a:extLst>
          </p:cNvPr>
          <p:cNvSpPr/>
          <p:nvPr/>
        </p:nvSpPr>
        <p:spPr>
          <a:xfrm>
            <a:off x="3997947" y="1084879"/>
            <a:ext cx="1921930" cy="1486744"/>
          </a:xfrm>
          <a:prstGeom prst="roundRect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0E78873-9817-605F-C1CD-E9FD09BC099E}"/>
              </a:ext>
            </a:extLst>
          </p:cNvPr>
          <p:cNvGrpSpPr/>
          <p:nvPr/>
        </p:nvGrpSpPr>
        <p:grpSpPr>
          <a:xfrm>
            <a:off x="6379265" y="1078785"/>
            <a:ext cx="1990873" cy="1486744"/>
            <a:chOff x="6445727" y="654999"/>
            <a:chExt cx="1990873" cy="1486744"/>
          </a:xfrm>
        </p:grpSpPr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0A4C3148-368C-2DC6-E256-3CB313B86423}"/>
                </a:ext>
              </a:extLst>
            </p:cNvPr>
            <p:cNvSpPr/>
            <p:nvPr/>
          </p:nvSpPr>
          <p:spPr>
            <a:xfrm>
              <a:off x="6718166" y="949744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07A1B17F-3ECC-0290-04A6-3F2376EF18EE}"/>
                </a:ext>
              </a:extLst>
            </p:cNvPr>
            <p:cNvSpPr/>
            <p:nvPr/>
          </p:nvSpPr>
          <p:spPr>
            <a:xfrm>
              <a:off x="7639901" y="949743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F217E776-ACFB-4A5C-5853-9CEC074582F0}"/>
                </a:ext>
              </a:extLst>
            </p:cNvPr>
            <p:cNvSpPr/>
            <p:nvPr/>
          </p:nvSpPr>
          <p:spPr>
            <a:xfrm>
              <a:off x="7076754" y="949743"/>
              <a:ext cx="546847" cy="268941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/>
                <a:t>Cryptic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FA12E74A-1D8C-A6AC-38B4-1773F089D94F}"/>
                </a:ext>
              </a:extLst>
            </p:cNvPr>
            <p:cNvSpPr txBox="1"/>
            <p:nvPr/>
          </p:nvSpPr>
          <p:spPr>
            <a:xfrm>
              <a:off x="6666207" y="1235735"/>
              <a:ext cx="177039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i="1" dirty="0"/>
                <a:t>Stable mRNA</a:t>
              </a:r>
            </a:p>
            <a:p>
              <a:r>
                <a:rPr lang="en-US" sz="1400" b="1" i="1" dirty="0"/>
                <a:t>Protein with an inserted polypeptide</a:t>
              </a:r>
            </a:p>
          </p:txBody>
        </p:sp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5746A841-9315-73DA-7680-14E1622740C3}"/>
                </a:ext>
              </a:extLst>
            </p:cNvPr>
            <p:cNvSpPr/>
            <p:nvPr/>
          </p:nvSpPr>
          <p:spPr>
            <a:xfrm>
              <a:off x="6445727" y="654999"/>
              <a:ext cx="1921930" cy="1486744"/>
            </a:xfrm>
            <a:prstGeom prst="roundRect">
              <a:avLst/>
            </a:prstGeom>
            <a:noFill/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BCF364D-D12A-E69C-A608-95AD7219C791}"/>
              </a:ext>
            </a:extLst>
          </p:cNvPr>
          <p:cNvGrpSpPr/>
          <p:nvPr/>
        </p:nvGrpSpPr>
        <p:grpSpPr>
          <a:xfrm>
            <a:off x="8760583" y="1078785"/>
            <a:ext cx="1921930" cy="1486744"/>
            <a:chOff x="8827045" y="654999"/>
            <a:chExt cx="1921930" cy="1486744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BBAA810-9D7E-A0DA-2F4A-EEDC938F3ED2}"/>
                </a:ext>
              </a:extLst>
            </p:cNvPr>
            <p:cNvSpPr/>
            <p:nvPr/>
          </p:nvSpPr>
          <p:spPr>
            <a:xfrm>
              <a:off x="9119586" y="1063131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46C32D5-0736-5EAE-D1CF-BC0930B68060}"/>
                </a:ext>
              </a:extLst>
            </p:cNvPr>
            <p:cNvSpPr/>
            <p:nvPr/>
          </p:nvSpPr>
          <p:spPr>
            <a:xfrm>
              <a:off x="10041321" y="1063130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035F14DF-B09F-7A02-263C-E64BD83C7942}"/>
                </a:ext>
              </a:extLst>
            </p:cNvPr>
            <p:cNvSpPr/>
            <p:nvPr/>
          </p:nvSpPr>
          <p:spPr>
            <a:xfrm>
              <a:off x="9478174" y="1063130"/>
              <a:ext cx="546847" cy="268941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/>
                <a:t>Cryptic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F76C68F-DBA9-49DC-43A7-F9DC89A0573E}"/>
                </a:ext>
              </a:extLst>
            </p:cNvPr>
            <p:cNvSpPr txBox="1"/>
            <p:nvPr/>
          </p:nvSpPr>
          <p:spPr>
            <a:xfrm>
              <a:off x="9067627" y="1349122"/>
              <a:ext cx="152548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i="1" u="sng" dirty="0"/>
                <a:t>Unstable</a:t>
              </a:r>
              <a:r>
                <a:rPr lang="en-US" sz="1400" b="1" i="1" dirty="0"/>
                <a:t> mRNA</a:t>
              </a:r>
            </a:p>
            <a:p>
              <a:r>
                <a:rPr lang="en-US" sz="1400" b="1" i="1" dirty="0"/>
                <a:t>Removed by NMD</a:t>
              </a:r>
            </a:p>
          </p:txBody>
        </p:sp>
        <p:sp>
          <p:nvSpPr>
            <p:cNvPr id="45" name="Decagon 44">
              <a:extLst>
                <a:ext uri="{FF2B5EF4-FFF2-40B4-BE49-F238E27FC236}">
                  <a16:creationId xmlns:a16="http://schemas.microsoft.com/office/drawing/2014/main" id="{FAAB4D76-9EAA-3230-12C2-2134DECAF204}"/>
                </a:ext>
              </a:extLst>
            </p:cNvPr>
            <p:cNvSpPr/>
            <p:nvPr/>
          </p:nvSpPr>
          <p:spPr>
            <a:xfrm>
              <a:off x="9637720" y="878651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7EA858C-5CF6-41AB-F229-93F4B242A3D5}"/>
                </a:ext>
              </a:extLst>
            </p:cNvPr>
            <p:cNvSpPr/>
            <p:nvPr/>
          </p:nvSpPr>
          <p:spPr>
            <a:xfrm>
              <a:off x="9700996" y="1026748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tangle: Rounded Corners 143">
              <a:extLst>
                <a:ext uri="{FF2B5EF4-FFF2-40B4-BE49-F238E27FC236}">
                  <a16:creationId xmlns:a16="http://schemas.microsoft.com/office/drawing/2014/main" id="{4D27005B-FF2F-F1E3-D62A-211593BC11A8}"/>
                </a:ext>
              </a:extLst>
            </p:cNvPr>
            <p:cNvSpPr/>
            <p:nvPr/>
          </p:nvSpPr>
          <p:spPr>
            <a:xfrm>
              <a:off x="8827045" y="654999"/>
              <a:ext cx="1921930" cy="1486744"/>
            </a:xfrm>
            <a:prstGeom prst="roundRect">
              <a:avLst/>
            </a:prstGeom>
            <a:noFill/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5" name="Rectangle: Rounded Corners 194">
            <a:extLst>
              <a:ext uri="{FF2B5EF4-FFF2-40B4-BE49-F238E27FC236}">
                <a16:creationId xmlns:a16="http://schemas.microsoft.com/office/drawing/2014/main" id="{59B9853C-E9F8-0A20-8808-78D3AC288FC7}"/>
              </a:ext>
            </a:extLst>
          </p:cNvPr>
          <p:cNvSpPr/>
          <p:nvPr/>
        </p:nvSpPr>
        <p:spPr>
          <a:xfrm>
            <a:off x="4066261" y="728662"/>
            <a:ext cx="6564241" cy="221819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plicing outcome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3BBE28B9-AE05-4C0D-14DD-3B5BF6CA46E0}"/>
              </a:ext>
            </a:extLst>
          </p:cNvPr>
          <p:cNvSpPr/>
          <p:nvPr/>
        </p:nvSpPr>
        <p:spPr>
          <a:xfrm>
            <a:off x="1143775" y="3246509"/>
            <a:ext cx="3035538" cy="2535881"/>
          </a:xfrm>
          <a:prstGeom prst="roundRect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BD32FE-C0CC-465D-C11A-B8FC476C23F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37" t="32782" r="77003" b="48643"/>
          <a:stretch/>
        </p:blipFill>
        <p:spPr>
          <a:xfrm>
            <a:off x="11160338" y="6185273"/>
            <a:ext cx="934281" cy="557321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9E0801AD-A006-A3C6-A78B-F9497DE5AB01}"/>
              </a:ext>
            </a:extLst>
          </p:cNvPr>
          <p:cNvSpPr/>
          <p:nvPr/>
        </p:nvSpPr>
        <p:spPr>
          <a:xfrm>
            <a:off x="1415387" y="3572300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376153C-CB67-D5F5-C93E-404E2D84238E}"/>
              </a:ext>
            </a:extLst>
          </p:cNvPr>
          <p:cNvSpPr/>
          <p:nvPr/>
        </p:nvSpPr>
        <p:spPr>
          <a:xfrm>
            <a:off x="1773975" y="3572300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BD3EA97-E3D8-3950-D165-8AC2726A6DF4}"/>
              </a:ext>
            </a:extLst>
          </p:cNvPr>
          <p:cNvSpPr/>
          <p:nvPr/>
        </p:nvSpPr>
        <p:spPr>
          <a:xfrm>
            <a:off x="1773975" y="3886625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D15A3BF-C508-5627-92F8-DF3EE674E666}"/>
              </a:ext>
            </a:extLst>
          </p:cNvPr>
          <p:cNvSpPr/>
          <p:nvPr/>
        </p:nvSpPr>
        <p:spPr>
          <a:xfrm>
            <a:off x="2132563" y="3886625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A9B4735-14CE-D04E-16AD-6E4F90E9772F}"/>
              </a:ext>
            </a:extLst>
          </p:cNvPr>
          <p:cNvSpPr/>
          <p:nvPr/>
        </p:nvSpPr>
        <p:spPr>
          <a:xfrm>
            <a:off x="2018060" y="4200950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87904EB-68C1-0658-5215-4F8A456DE90D}"/>
              </a:ext>
            </a:extLst>
          </p:cNvPr>
          <p:cNvSpPr/>
          <p:nvPr/>
        </p:nvSpPr>
        <p:spPr>
          <a:xfrm>
            <a:off x="2376648" y="4200950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A8769CA-7FC6-5E64-4149-554ABBB2C79D}"/>
              </a:ext>
            </a:extLst>
          </p:cNvPr>
          <p:cNvSpPr/>
          <p:nvPr/>
        </p:nvSpPr>
        <p:spPr>
          <a:xfrm>
            <a:off x="2455630" y="3572300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86B67C9-4B5C-8E6C-CF67-483BACE4A26A}"/>
              </a:ext>
            </a:extLst>
          </p:cNvPr>
          <p:cNvSpPr/>
          <p:nvPr/>
        </p:nvSpPr>
        <p:spPr>
          <a:xfrm>
            <a:off x="2814218" y="3572300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EC07CD9-1F4A-5D6E-EB98-D4A1132917F6}"/>
              </a:ext>
            </a:extLst>
          </p:cNvPr>
          <p:cNvSpPr/>
          <p:nvPr/>
        </p:nvSpPr>
        <p:spPr>
          <a:xfrm>
            <a:off x="2814218" y="3886625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D2BC0BD-2E9B-A603-E208-22B656DC3F8B}"/>
              </a:ext>
            </a:extLst>
          </p:cNvPr>
          <p:cNvSpPr/>
          <p:nvPr/>
        </p:nvSpPr>
        <p:spPr>
          <a:xfrm>
            <a:off x="3172806" y="3886625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47569113-2F36-81CC-D7DB-8D024392D6AC}"/>
              </a:ext>
            </a:extLst>
          </p:cNvPr>
          <p:cNvSpPr/>
          <p:nvPr/>
        </p:nvSpPr>
        <p:spPr>
          <a:xfrm>
            <a:off x="3058303" y="4200950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5E6E79A-19A0-4D6F-8A54-5984698CB10F}"/>
              </a:ext>
            </a:extLst>
          </p:cNvPr>
          <p:cNvSpPr/>
          <p:nvPr/>
        </p:nvSpPr>
        <p:spPr>
          <a:xfrm>
            <a:off x="3416891" y="4200950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4D0A7D5-AB2A-5829-5EE0-95B98415F671}"/>
              </a:ext>
            </a:extLst>
          </p:cNvPr>
          <p:cNvSpPr/>
          <p:nvPr/>
        </p:nvSpPr>
        <p:spPr>
          <a:xfrm>
            <a:off x="1763998" y="449091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5D9632A-A096-43CF-C4BE-F0253E2F3465}"/>
              </a:ext>
            </a:extLst>
          </p:cNvPr>
          <p:cNvSpPr/>
          <p:nvPr/>
        </p:nvSpPr>
        <p:spPr>
          <a:xfrm>
            <a:off x="2122586" y="449091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B2B45BD-133B-3EFB-359B-3685648ACD89}"/>
              </a:ext>
            </a:extLst>
          </p:cNvPr>
          <p:cNvSpPr/>
          <p:nvPr/>
        </p:nvSpPr>
        <p:spPr>
          <a:xfrm>
            <a:off x="2634924" y="449091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EEA1195-3256-457E-8E50-9436D8351226}"/>
              </a:ext>
            </a:extLst>
          </p:cNvPr>
          <p:cNvSpPr/>
          <p:nvPr/>
        </p:nvSpPr>
        <p:spPr>
          <a:xfrm>
            <a:off x="2993512" y="449091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4C5C6BD-11BA-5022-8746-47602EFF9CF6}"/>
              </a:ext>
            </a:extLst>
          </p:cNvPr>
          <p:cNvSpPr/>
          <p:nvPr/>
        </p:nvSpPr>
        <p:spPr>
          <a:xfrm>
            <a:off x="2879009" y="480524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48BE9D1-9088-9CB4-B642-64126C82A5CE}"/>
              </a:ext>
            </a:extLst>
          </p:cNvPr>
          <p:cNvSpPr/>
          <p:nvPr/>
        </p:nvSpPr>
        <p:spPr>
          <a:xfrm>
            <a:off x="3237597" y="480524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80751FE-18D8-4143-7853-FA113BB1832F}"/>
              </a:ext>
            </a:extLst>
          </p:cNvPr>
          <p:cNvSpPr/>
          <p:nvPr/>
        </p:nvSpPr>
        <p:spPr>
          <a:xfrm>
            <a:off x="1982539" y="480524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7F2FB2F-9E4F-BB04-08C0-1F6446F8398A}"/>
              </a:ext>
            </a:extLst>
          </p:cNvPr>
          <p:cNvSpPr/>
          <p:nvPr/>
        </p:nvSpPr>
        <p:spPr>
          <a:xfrm>
            <a:off x="2341127" y="480524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1C635B2-B732-F2E0-0A4E-63884D353B9A}"/>
              </a:ext>
            </a:extLst>
          </p:cNvPr>
          <p:cNvSpPr txBox="1"/>
          <p:nvPr/>
        </p:nvSpPr>
        <p:spPr>
          <a:xfrm>
            <a:off x="1412255" y="5165054"/>
            <a:ext cx="28532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/>
              <a:t>10 copies of canonically spliced mRNA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048F765-9D1E-B2AA-E78F-E9482815ECA2}"/>
              </a:ext>
            </a:extLst>
          </p:cNvPr>
          <p:cNvSpPr txBox="1"/>
          <p:nvPr/>
        </p:nvSpPr>
        <p:spPr>
          <a:xfrm>
            <a:off x="2101521" y="2941308"/>
            <a:ext cx="11200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Basal state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8E732D81-2565-041B-39B9-55E47CE569FC}"/>
              </a:ext>
            </a:extLst>
          </p:cNvPr>
          <p:cNvSpPr txBox="1"/>
          <p:nvPr/>
        </p:nvSpPr>
        <p:spPr>
          <a:xfrm>
            <a:off x="2183448" y="5909410"/>
            <a:ext cx="805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SI = 0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FD23588-45B7-EC0D-618B-7639565ADD46}"/>
              </a:ext>
            </a:extLst>
          </p:cNvPr>
          <p:cNvGrpSpPr/>
          <p:nvPr/>
        </p:nvGrpSpPr>
        <p:grpSpPr>
          <a:xfrm>
            <a:off x="4477912" y="2708306"/>
            <a:ext cx="3161849" cy="4149694"/>
            <a:chOff x="4544374" y="2284520"/>
            <a:chExt cx="3161849" cy="4149694"/>
          </a:xfrm>
        </p:grpSpPr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9B4E9C34-11D4-940E-89B4-1FFCBD6DF594}"/>
                </a:ext>
              </a:extLst>
            </p:cNvPr>
            <p:cNvSpPr/>
            <p:nvPr/>
          </p:nvSpPr>
          <p:spPr>
            <a:xfrm>
              <a:off x="4544374" y="2838006"/>
              <a:ext cx="3035538" cy="2535881"/>
            </a:xfrm>
            <a:prstGeom prst="roundRect">
              <a:avLst/>
            </a:prstGeom>
            <a:noFill/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7CA8AB63-490F-D7CE-AE21-ADE9EFD17E45}"/>
                </a:ext>
              </a:extLst>
            </p:cNvPr>
            <p:cNvSpPr/>
            <p:nvPr/>
          </p:nvSpPr>
          <p:spPr>
            <a:xfrm>
              <a:off x="4815986" y="316379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B43D1E17-0C45-8C16-7A4F-1E31367555DC}"/>
                </a:ext>
              </a:extLst>
            </p:cNvPr>
            <p:cNvSpPr/>
            <p:nvPr/>
          </p:nvSpPr>
          <p:spPr>
            <a:xfrm>
              <a:off x="5174574" y="316379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31A79F7C-0E13-F60B-8D77-EDB1886224E9}"/>
                </a:ext>
              </a:extLst>
            </p:cNvPr>
            <p:cNvSpPr/>
            <p:nvPr/>
          </p:nvSpPr>
          <p:spPr>
            <a:xfrm>
              <a:off x="6214817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95CF6479-933F-2DC8-D8B3-055A688B76B4}"/>
                </a:ext>
              </a:extLst>
            </p:cNvPr>
            <p:cNvSpPr/>
            <p:nvPr/>
          </p:nvSpPr>
          <p:spPr>
            <a:xfrm>
              <a:off x="6573405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97D9B90B-EE8D-1024-95BE-1FB520369A21}"/>
                </a:ext>
              </a:extLst>
            </p:cNvPr>
            <p:cNvSpPr/>
            <p:nvPr/>
          </p:nvSpPr>
          <p:spPr>
            <a:xfrm>
              <a:off x="6458902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12980D3E-467E-A366-3407-9CD650C5C88E}"/>
                </a:ext>
              </a:extLst>
            </p:cNvPr>
            <p:cNvSpPr/>
            <p:nvPr/>
          </p:nvSpPr>
          <p:spPr>
            <a:xfrm>
              <a:off x="6817490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1839D609-8DE3-9930-F35D-9F210C06E71B}"/>
                </a:ext>
              </a:extLst>
            </p:cNvPr>
            <p:cNvSpPr/>
            <p:nvPr/>
          </p:nvSpPr>
          <p:spPr>
            <a:xfrm>
              <a:off x="5164597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8E2BF3C1-70FD-1955-F443-CCA33FD3213C}"/>
                </a:ext>
              </a:extLst>
            </p:cNvPr>
            <p:cNvSpPr/>
            <p:nvPr/>
          </p:nvSpPr>
          <p:spPr>
            <a:xfrm>
              <a:off x="5523185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D6078BCE-F87E-0D30-42C0-ECF1202CED01}"/>
                </a:ext>
              </a:extLst>
            </p:cNvPr>
            <p:cNvSpPr/>
            <p:nvPr/>
          </p:nvSpPr>
          <p:spPr>
            <a:xfrm>
              <a:off x="6035523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F06914E7-91B4-3ADD-FE23-BBE075007E34}"/>
                </a:ext>
              </a:extLst>
            </p:cNvPr>
            <p:cNvSpPr/>
            <p:nvPr/>
          </p:nvSpPr>
          <p:spPr>
            <a:xfrm>
              <a:off x="6394111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2B1A844E-F884-8F93-B31D-5172AA1AEBC3}"/>
                </a:ext>
              </a:extLst>
            </p:cNvPr>
            <p:cNvSpPr txBox="1"/>
            <p:nvPr/>
          </p:nvSpPr>
          <p:spPr>
            <a:xfrm>
              <a:off x="4852992" y="4607907"/>
              <a:ext cx="285323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/>
                <a:t>5 copies of canonically spliced mRNA</a:t>
              </a:r>
            </a:p>
            <a:p>
              <a:r>
                <a:rPr lang="en-US" sz="1200" b="1"/>
                <a:t>5 copies of cryptically spliced mRNA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E886CD9-13A9-84A8-1869-EAFB1FD7A21E}"/>
                </a:ext>
              </a:extLst>
            </p:cNvPr>
            <p:cNvSpPr txBox="1"/>
            <p:nvPr/>
          </p:nvSpPr>
          <p:spPr>
            <a:xfrm>
              <a:off x="4657691" y="2284520"/>
              <a:ext cx="285323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If the inclusion of cryptic exon does </a:t>
              </a:r>
              <a:r>
                <a:rPr lang="en-US" sz="1600" b="1" u="sng" dirty="0"/>
                <a:t>NOT</a:t>
              </a:r>
              <a:r>
                <a:rPr lang="en-US" sz="1600" b="1" dirty="0"/>
                <a:t> promote NMD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EF16550-924E-B8B3-F1CE-25762FCD0DCC}"/>
                </a:ext>
              </a:extLst>
            </p:cNvPr>
            <p:cNvGrpSpPr/>
            <p:nvPr/>
          </p:nvGrpSpPr>
          <p:grpSpPr>
            <a:xfrm>
              <a:off x="5744680" y="3148514"/>
              <a:ext cx="1280323" cy="137161"/>
              <a:chOff x="5806617" y="3287909"/>
              <a:chExt cx="1280323" cy="137161"/>
            </a:xfrm>
          </p:grpSpPr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6DB5177A-7FB3-6EBD-5C72-B92B3D3E95B5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41FC8C62-C826-3FAE-5476-863912DEC5D2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EE0DD891-249B-A758-8F36-39B26A89EF3A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B8505CB5-00BA-FC0F-07D6-D33939E7DCEF}"/>
                </a:ext>
              </a:extLst>
            </p:cNvPr>
            <p:cNvGrpSpPr/>
            <p:nvPr/>
          </p:nvGrpSpPr>
          <p:grpSpPr>
            <a:xfrm>
              <a:off x="4753481" y="3473872"/>
              <a:ext cx="1280323" cy="137161"/>
              <a:chOff x="5806617" y="3287909"/>
              <a:chExt cx="1280323" cy="137161"/>
            </a:xfrm>
          </p:grpSpPr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F6B9F44E-166F-396B-1764-763DFA7CDEC6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4D1CA91E-0D04-30BD-7959-9A5C82BFE6C7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0D76DF4-0C18-FD2D-088B-3AE8A6F388DF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0AEB0DEB-5245-EEE3-DB3D-2C2D847D4D2D}"/>
                </a:ext>
              </a:extLst>
            </p:cNvPr>
            <p:cNvGrpSpPr/>
            <p:nvPr/>
          </p:nvGrpSpPr>
          <p:grpSpPr>
            <a:xfrm>
              <a:off x="4934494" y="3787779"/>
              <a:ext cx="1280323" cy="137161"/>
              <a:chOff x="5806617" y="3287909"/>
              <a:chExt cx="1280323" cy="137161"/>
            </a:xfrm>
          </p:grpSpPr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AE4D33E3-905F-DB96-A9FB-762CCDFCC5BA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89E482F7-0000-607A-C3D0-F29E196763EB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6936AE5D-935A-7180-4F5B-C08E2D7DDDD2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9EA919AE-A9A6-0CC4-13E7-DE91B111F5AF}"/>
                </a:ext>
              </a:extLst>
            </p:cNvPr>
            <p:cNvGrpSpPr/>
            <p:nvPr/>
          </p:nvGrpSpPr>
          <p:grpSpPr>
            <a:xfrm>
              <a:off x="4703729" y="4327741"/>
              <a:ext cx="1280323" cy="137161"/>
              <a:chOff x="5806617" y="3287909"/>
              <a:chExt cx="1280323" cy="13716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252BE75B-2896-B9C0-ED91-333EAC85BB81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FC644B65-AE30-8649-3AA1-8D862D266D4D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A2629E92-EB5F-6958-D98C-6AEF4749CC28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E919DEC4-1BAA-DA5E-85B5-809A9DE704C5}"/>
                </a:ext>
              </a:extLst>
            </p:cNvPr>
            <p:cNvGrpSpPr/>
            <p:nvPr/>
          </p:nvGrpSpPr>
          <p:grpSpPr>
            <a:xfrm>
              <a:off x="6141820" y="4337703"/>
              <a:ext cx="1280323" cy="137161"/>
              <a:chOff x="5806617" y="3287909"/>
              <a:chExt cx="1280323" cy="137161"/>
            </a:xfrm>
          </p:grpSpPr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B2DE4D7B-B11B-F6A1-35B0-5B5196A2426E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D714635B-797B-D99C-AA07-8BF466313FC1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F0E20C56-68BB-303A-7D40-43FC441B3FA8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B5F1925C-E7F0-00D8-C798-AB46C9BB62DB}"/>
                </a:ext>
              </a:extLst>
            </p:cNvPr>
            <p:cNvSpPr txBox="1"/>
            <p:nvPr/>
          </p:nvSpPr>
          <p:spPr>
            <a:xfrm>
              <a:off x="5657495" y="5510884"/>
              <a:ext cx="1101584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PSI = 0.5</a:t>
              </a:r>
            </a:p>
            <a:p>
              <a:r>
                <a:rPr lang="en-US" dirty="0" err="1"/>
                <a:t>dPSI</a:t>
              </a:r>
              <a:r>
                <a:rPr lang="en-US" dirty="0"/>
                <a:t> = 0.5</a:t>
              </a:r>
            </a:p>
            <a:p>
              <a:r>
                <a:rPr lang="en-US" dirty="0"/>
                <a:t>DSG = </a:t>
              </a:r>
              <a:r>
                <a:rPr lang="en-US" dirty="0">
                  <a:solidFill>
                    <a:srgbClr val="00B050"/>
                  </a:solidFill>
                </a:rPr>
                <a:t>Yes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9EC1B8E-BF92-8B22-6101-8C4D0DB4CEFC}"/>
              </a:ext>
            </a:extLst>
          </p:cNvPr>
          <p:cNvGrpSpPr/>
          <p:nvPr/>
        </p:nvGrpSpPr>
        <p:grpSpPr>
          <a:xfrm>
            <a:off x="7932027" y="2688429"/>
            <a:ext cx="3161849" cy="4121324"/>
            <a:chOff x="7998489" y="2264643"/>
            <a:chExt cx="3161849" cy="4121324"/>
          </a:xfrm>
        </p:grpSpPr>
        <p:sp>
          <p:nvSpPr>
            <p:cNvPr id="145" name="Rectangle: Rounded Corners 144">
              <a:extLst>
                <a:ext uri="{FF2B5EF4-FFF2-40B4-BE49-F238E27FC236}">
                  <a16:creationId xmlns:a16="http://schemas.microsoft.com/office/drawing/2014/main" id="{4EC38C35-A056-555A-DFA7-AA7B648588F1}"/>
                </a:ext>
              </a:extLst>
            </p:cNvPr>
            <p:cNvSpPr/>
            <p:nvPr/>
          </p:nvSpPr>
          <p:spPr>
            <a:xfrm>
              <a:off x="7998489" y="2838006"/>
              <a:ext cx="3035538" cy="2535881"/>
            </a:xfrm>
            <a:prstGeom prst="roundRect">
              <a:avLst/>
            </a:prstGeom>
            <a:noFill/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302E49DB-BD4E-1CCF-CCCD-9E76F910C28B}"/>
                </a:ext>
              </a:extLst>
            </p:cNvPr>
            <p:cNvSpPr/>
            <p:nvPr/>
          </p:nvSpPr>
          <p:spPr>
            <a:xfrm>
              <a:off x="8279705" y="3019778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8CE117E5-E637-0295-19D3-6C91CD2E0523}"/>
                </a:ext>
              </a:extLst>
            </p:cNvPr>
            <p:cNvSpPr/>
            <p:nvPr/>
          </p:nvSpPr>
          <p:spPr>
            <a:xfrm>
              <a:off x="8638293" y="3019778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698A0A7-0E62-A39F-5494-1BB3F7F10C33}"/>
                </a:ext>
              </a:extLst>
            </p:cNvPr>
            <p:cNvSpPr/>
            <p:nvPr/>
          </p:nvSpPr>
          <p:spPr>
            <a:xfrm>
              <a:off x="9732432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D1CBE261-6E1A-EAC7-12FE-4DCFBF8D5EC5}"/>
                </a:ext>
              </a:extLst>
            </p:cNvPr>
            <p:cNvSpPr/>
            <p:nvPr/>
          </p:nvSpPr>
          <p:spPr>
            <a:xfrm>
              <a:off x="10091020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95EB35DF-3DAA-87D2-C90E-2BDAFAA57B75}"/>
                </a:ext>
              </a:extLst>
            </p:cNvPr>
            <p:cNvSpPr/>
            <p:nvPr/>
          </p:nvSpPr>
          <p:spPr>
            <a:xfrm>
              <a:off x="9913017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C8A8B568-EF6F-99AF-B662-7EC0DA459A58}"/>
                </a:ext>
              </a:extLst>
            </p:cNvPr>
            <p:cNvSpPr/>
            <p:nvPr/>
          </p:nvSpPr>
          <p:spPr>
            <a:xfrm>
              <a:off x="10271605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BF8E5BD8-0AB2-CFC5-C9A3-19F0162E2210}"/>
                </a:ext>
              </a:extLst>
            </p:cNvPr>
            <p:cNvSpPr/>
            <p:nvPr/>
          </p:nvSpPr>
          <p:spPr>
            <a:xfrm>
              <a:off x="8618712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06B686EE-6654-2FB8-8D52-7919C9C49373}"/>
                </a:ext>
              </a:extLst>
            </p:cNvPr>
            <p:cNvSpPr/>
            <p:nvPr/>
          </p:nvSpPr>
          <p:spPr>
            <a:xfrm>
              <a:off x="8977300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8268BB26-AA5A-8F64-CAE2-F3F22C165EAB}"/>
                </a:ext>
              </a:extLst>
            </p:cNvPr>
            <p:cNvSpPr/>
            <p:nvPr/>
          </p:nvSpPr>
          <p:spPr>
            <a:xfrm>
              <a:off x="9489638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15419440-5AC0-B40A-973B-F01C5E497A53}"/>
                </a:ext>
              </a:extLst>
            </p:cNvPr>
            <p:cNvSpPr/>
            <p:nvPr/>
          </p:nvSpPr>
          <p:spPr>
            <a:xfrm>
              <a:off x="9848226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5D2085F6-CD72-ECE8-2D09-34885F4EA73B}"/>
                </a:ext>
              </a:extLst>
            </p:cNvPr>
            <p:cNvSpPr txBox="1"/>
            <p:nvPr/>
          </p:nvSpPr>
          <p:spPr>
            <a:xfrm>
              <a:off x="8307107" y="4607907"/>
              <a:ext cx="285323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/>
                <a:t>5 copies of canonically spliced mRNA</a:t>
              </a:r>
            </a:p>
            <a:p>
              <a:r>
                <a:rPr lang="en-US" sz="1200" b="1"/>
                <a:t>1 copies of cryptically spliced mRNA</a:t>
              </a:r>
            </a:p>
            <a:p>
              <a:r>
                <a:rPr lang="en-US" sz="1200" b="1"/>
                <a:t>4 copies degraded by NMD</a:t>
              </a:r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1AE6D8E9-2D41-CB31-0F99-555CE3321170}"/>
                </a:ext>
              </a:extLst>
            </p:cNvPr>
            <p:cNvGrpSpPr/>
            <p:nvPr/>
          </p:nvGrpSpPr>
          <p:grpSpPr>
            <a:xfrm>
              <a:off x="8105338" y="3413980"/>
              <a:ext cx="1280323" cy="137161"/>
              <a:chOff x="5806617" y="3287909"/>
              <a:chExt cx="1280323" cy="137161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DBFC03BD-F22C-6092-ABE4-21D4ECAE0D6E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3ECFD9D5-0B90-2D73-5198-A1554386EE87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20FF1BA7-A9F6-B050-5979-CB3033B28CC1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E0E40354-6775-E5D7-EF07-9F5C9F5C080E}"/>
                </a:ext>
              </a:extLst>
            </p:cNvPr>
            <p:cNvGrpSpPr/>
            <p:nvPr/>
          </p:nvGrpSpPr>
          <p:grpSpPr>
            <a:xfrm>
              <a:off x="8388609" y="3787779"/>
              <a:ext cx="1280323" cy="137161"/>
              <a:chOff x="5806617" y="3287909"/>
              <a:chExt cx="1280323" cy="137161"/>
            </a:xfrm>
          </p:grpSpPr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EFEBA99F-70E8-0F57-D9F8-8EA2183E5541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B8112E72-C0B5-2496-0699-ED7B46E7121B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F9BCB2CF-96B6-1B5E-89A1-55DDA34ADC7D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0FC87B0F-A5E9-43DF-10A3-06BE4E23CF46}"/>
                </a:ext>
              </a:extLst>
            </p:cNvPr>
            <p:cNvGrpSpPr/>
            <p:nvPr/>
          </p:nvGrpSpPr>
          <p:grpSpPr>
            <a:xfrm>
              <a:off x="8093798" y="4464901"/>
              <a:ext cx="1280323" cy="137161"/>
              <a:chOff x="5806617" y="3287909"/>
              <a:chExt cx="1280323" cy="137161"/>
            </a:xfrm>
          </p:grpSpPr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A937C544-0751-3EDA-FAB6-4795B6FCAB6E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D015D394-2BA1-D29A-ED7F-5E3BE45D22BA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E42EE343-AB6A-ADBB-887F-AA3075C0B0D9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A954AA12-1B93-5887-BB54-5CA5C649D5CD}"/>
                </a:ext>
              </a:extLst>
            </p:cNvPr>
            <p:cNvGrpSpPr/>
            <p:nvPr/>
          </p:nvGrpSpPr>
          <p:grpSpPr>
            <a:xfrm>
              <a:off x="9595935" y="4337703"/>
              <a:ext cx="1280323" cy="137161"/>
              <a:chOff x="5806617" y="3287909"/>
              <a:chExt cx="1280323" cy="137161"/>
            </a:xfrm>
          </p:grpSpPr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0F1DBB34-AA8F-D149-430F-ABCE1733354F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DBCB7719-1C2C-07BF-420F-D2A280CEAD53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B8F4322D-AD00-39E9-E978-6BFE5C1B2502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sp>
          <p:nvSpPr>
            <p:cNvPr id="177" name="Decagon 176">
              <a:extLst>
                <a:ext uri="{FF2B5EF4-FFF2-40B4-BE49-F238E27FC236}">
                  <a16:creationId xmlns:a16="http://schemas.microsoft.com/office/drawing/2014/main" id="{6104CEEB-9CF3-7B5C-3944-654238134141}"/>
                </a:ext>
              </a:extLst>
            </p:cNvPr>
            <p:cNvSpPr/>
            <p:nvPr/>
          </p:nvSpPr>
          <p:spPr>
            <a:xfrm>
              <a:off x="10262079" y="4145136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591A8521-7F21-BF71-4018-9FB13E773C4B}"/>
                </a:ext>
              </a:extLst>
            </p:cNvPr>
            <p:cNvSpPr/>
            <p:nvPr/>
          </p:nvSpPr>
          <p:spPr>
            <a:xfrm>
              <a:off x="10325355" y="4293233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Decagon 178">
              <a:extLst>
                <a:ext uri="{FF2B5EF4-FFF2-40B4-BE49-F238E27FC236}">
                  <a16:creationId xmlns:a16="http://schemas.microsoft.com/office/drawing/2014/main" id="{B13E9C15-665D-D9EB-27DB-BA0F8AF84F4C}"/>
                </a:ext>
              </a:extLst>
            </p:cNvPr>
            <p:cNvSpPr/>
            <p:nvPr/>
          </p:nvSpPr>
          <p:spPr>
            <a:xfrm>
              <a:off x="8750556" y="3214591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085BD112-3220-0881-D67E-FC537754B86D}"/>
                </a:ext>
              </a:extLst>
            </p:cNvPr>
            <p:cNvSpPr/>
            <p:nvPr/>
          </p:nvSpPr>
          <p:spPr>
            <a:xfrm>
              <a:off x="8813832" y="3362688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3" name="Decagon 182">
              <a:extLst>
                <a:ext uri="{FF2B5EF4-FFF2-40B4-BE49-F238E27FC236}">
                  <a16:creationId xmlns:a16="http://schemas.microsoft.com/office/drawing/2014/main" id="{D6C101C1-6EFE-2F88-6CCD-537995948511}"/>
                </a:ext>
              </a:extLst>
            </p:cNvPr>
            <p:cNvSpPr/>
            <p:nvPr/>
          </p:nvSpPr>
          <p:spPr>
            <a:xfrm>
              <a:off x="8802978" y="4267013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28346208-71A3-3D88-92A0-AC490CB45E27}"/>
                </a:ext>
              </a:extLst>
            </p:cNvPr>
            <p:cNvSpPr/>
            <p:nvPr/>
          </p:nvSpPr>
          <p:spPr>
            <a:xfrm>
              <a:off x="8866254" y="4415110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5" name="Decagon 184">
              <a:extLst>
                <a:ext uri="{FF2B5EF4-FFF2-40B4-BE49-F238E27FC236}">
                  <a16:creationId xmlns:a16="http://schemas.microsoft.com/office/drawing/2014/main" id="{5BCF7D7D-A6F2-37A1-1F26-DF91F7FFBDFA}"/>
                </a:ext>
              </a:extLst>
            </p:cNvPr>
            <p:cNvSpPr/>
            <p:nvPr/>
          </p:nvSpPr>
          <p:spPr>
            <a:xfrm>
              <a:off x="9897935" y="2957571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F6616F3B-B25B-8D0A-482C-8200C00D4086}"/>
                </a:ext>
              </a:extLst>
            </p:cNvPr>
            <p:cNvSpPr/>
            <p:nvPr/>
          </p:nvSpPr>
          <p:spPr>
            <a:xfrm>
              <a:off x="9961211" y="3105668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947CB448-5E97-70F6-EA61-9C436B870472}"/>
                </a:ext>
              </a:extLst>
            </p:cNvPr>
            <p:cNvSpPr/>
            <p:nvPr/>
          </p:nvSpPr>
          <p:spPr>
            <a:xfrm>
              <a:off x="8079524" y="3204144"/>
              <a:ext cx="1368556" cy="431978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E49C7A17-6167-BD77-3935-FC2CFB5DF2B1}"/>
                </a:ext>
              </a:extLst>
            </p:cNvPr>
            <p:cNvSpPr/>
            <p:nvPr/>
          </p:nvSpPr>
          <p:spPr>
            <a:xfrm>
              <a:off x="8068755" y="4258924"/>
              <a:ext cx="1323535" cy="413097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FD0CA0F0-CC15-C3FE-6FDF-4684A4846936}"/>
                </a:ext>
              </a:extLst>
            </p:cNvPr>
            <p:cNvGrpSpPr/>
            <p:nvPr/>
          </p:nvGrpSpPr>
          <p:grpSpPr>
            <a:xfrm>
              <a:off x="9198795" y="3148514"/>
              <a:ext cx="1280323" cy="137161"/>
              <a:chOff x="5806617" y="3287909"/>
              <a:chExt cx="1280323" cy="137161"/>
            </a:xfrm>
          </p:grpSpPr>
          <p:sp>
            <p:nvSpPr>
              <p:cNvPr id="158" name="Rectangle 157">
                <a:extLst>
                  <a:ext uri="{FF2B5EF4-FFF2-40B4-BE49-F238E27FC236}">
                    <a16:creationId xmlns:a16="http://schemas.microsoft.com/office/drawing/2014/main" id="{AFD92EA2-66D7-6CF1-FAB3-247B071CD81C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35E96AB3-7DCB-6874-E1DD-3496E415BEF1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60" name="Rectangle 159">
                <a:extLst>
                  <a:ext uri="{FF2B5EF4-FFF2-40B4-BE49-F238E27FC236}">
                    <a16:creationId xmlns:a16="http://schemas.microsoft.com/office/drawing/2014/main" id="{DCE036D6-1E09-BFCB-57D2-B3E80D5666DB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26016AF5-E9B5-8ECA-B45D-D9E7C2688665}"/>
                </a:ext>
              </a:extLst>
            </p:cNvPr>
            <p:cNvSpPr/>
            <p:nvPr/>
          </p:nvSpPr>
          <p:spPr>
            <a:xfrm>
              <a:off x="9140300" y="2951993"/>
              <a:ext cx="1458248" cy="413096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Decagon 180">
              <a:extLst>
                <a:ext uri="{FF2B5EF4-FFF2-40B4-BE49-F238E27FC236}">
                  <a16:creationId xmlns:a16="http://schemas.microsoft.com/office/drawing/2014/main" id="{A62B565A-0D5D-C9FA-72EB-D6E05AC907C8}"/>
                </a:ext>
              </a:extLst>
            </p:cNvPr>
            <p:cNvSpPr/>
            <p:nvPr/>
          </p:nvSpPr>
          <p:spPr>
            <a:xfrm>
              <a:off x="9082744" y="3585183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DBED09D0-DB54-ABEF-0AA1-9DD9FE30697B}"/>
                </a:ext>
              </a:extLst>
            </p:cNvPr>
            <p:cNvSpPr/>
            <p:nvPr/>
          </p:nvSpPr>
          <p:spPr>
            <a:xfrm>
              <a:off x="9146020" y="3733280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51A0D138-CB29-64A4-0CBB-8DBD70B5B11E}"/>
                </a:ext>
              </a:extLst>
            </p:cNvPr>
            <p:cNvSpPr/>
            <p:nvPr/>
          </p:nvSpPr>
          <p:spPr>
            <a:xfrm>
              <a:off x="8367003" y="3577921"/>
              <a:ext cx="1323535" cy="413097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02001D39-C7CB-0884-CF83-7801E34440FF}"/>
                </a:ext>
              </a:extLst>
            </p:cNvPr>
            <p:cNvSpPr txBox="1"/>
            <p:nvPr/>
          </p:nvSpPr>
          <p:spPr>
            <a:xfrm>
              <a:off x="8550733" y="2264643"/>
              <a:ext cx="217397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If the cryptic exon promotes NMD</a:t>
              </a: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18938B11-F87F-F95F-6599-8490BA03D74E}"/>
                </a:ext>
              </a:extLst>
            </p:cNvPr>
            <p:cNvSpPr txBox="1"/>
            <p:nvPr/>
          </p:nvSpPr>
          <p:spPr>
            <a:xfrm>
              <a:off x="9003578" y="5462637"/>
              <a:ext cx="121860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PSI = 0.16</a:t>
              </a:r>
            </a:p>
            <a:p>
              <a:r>
                <a:rPr lang="en-US" dirty="0" err="1"/>
                <a:t>dPSI</a:t>
              </a:r>
              <a:r>
                <a:rPr lang="en-US" dirty="0"/>
                <a:t> = 0.16</a:t>
              </a:r>
            </a:p>
            <a:p>
              <a:r>
                <a:rPr lang="en-US" dirty="0"/>
                <a:t>DSG = </a:t>
              </a:r>
              <a:r>
                <a:rPr lang="en-US" dirty="0">
                  <a:solidFill>
                    <a:srgbClr val="FF0000"/>
                  </a:solidFill>
                </a:rPr>
                <a:t>No</a:t>
              </a:r>
            </a:p>
          </p:txBody>
        </p:sp>
      </p:grpSp>
      <p:sp>
        <p:nvSpPr>
          <p:cNvPr id="196" name="TextBox 195">
            <a:extLst>
              <a:ext uri="{FF2B5EF4-FFF2-40B4-BE49-F238E27FC236}">
                <a16:creationId xmlns:a16="http://schemas.microsoft.com/office/drawing/2014/main" id="{B704F26E-4FB0-5E99-ED50-340D6450E02B}"/>
              </a:ext>
            </a:extLst>
          </p:cNvPr>
          <p:cNvSpPr txBox="1"/>
          <p:nvPr/>
        </p:nvSpPr>
        <p:spPr>
          <a:xfrm>
            <a:off x="253549" y="121580"/>
            <a:ext cx="55420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DSG analysis is likely to capture reads lef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1FCB49D-E1AC-99C6-3B26-4AC48D151E5D}"/>
              </a:ext>
            </a:extLst>
          </p:cNvPr>
          <p:cNvSpPr txBox="1"/>
          <p:nvPr/>
        </p:nvSpPr>
        <p:spPr>
          <a:xfrm>
            <a:off x="470139" y="6360785"/>
            <a:ext cx="1813317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Edited From Joon</a:t>
            </a:r>
          </a:p>
        </p:txBody>
      </p:sp>
    </p:spTree>
    <p:extLst>
      <p:ext uri="{BB962C8B-B14F-4D97-AF65-F5344CB8AC3E}">
        <p14:creationId xmlns:p14="http://schemas.microsoft.com/office/powerpoint/2010/main" val="3046260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831A777-00A6-FC1D-5037-15224214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49" y="977949"/>
            <a:ext cx="5214551" cy="52145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70205D-61EB-906A-023D-E278D2B008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866" y="929823"/>
            <a:ext cx="5556422" cy="55564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B7B798-2D90-F407-64DD-25FB289DE50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57889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C1FEE0-DF22-62DD-5F61-1FE4D855B0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663" y="880304"/>
            <a:ext cx="5977696" cy="59776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602D255-87FB-FF48-5A25-F750800756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3070" y="876183"/>
            <a:ext cx="5977696" cy="597769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09A1CDC-F56C-370C-4696-D970055822B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5538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45BB158-219C-8582-AA7A-1CA2E0FF1705}"/>
              </a:ext>
            </a:extLst>
          </p:cNvPr>
          <p:cNvSpPr txBox="1"/>
          <p:nvPr/>
        </p:nvSpPr>
        <p:spPr>
          <a:xfrm>
            <a:off x="276789" y="229667"/>
            <a:ext cx="7949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omparison of Differentially Expressed Genes from </a:t>
            </a:r>
            <a:r>
              <a:rPr lang="en-US" b="1" dirty="0">
                <a:solidFill>
                  <a:srgbClr val="FF0000"/>
                </a:solidFill>
              </a:rPr>
              <a:t>3</a:t>
            </a:r>
            <a:r>
              <a:rPr lang="en-US" b="1" dirty="0"/>
              <a:t> cell lines (PTC-518, 10x IC50)</a:t>
            </a:r>
            <a:endParaRPr lang="en-US" b="1" dirty="0">
              <a:highlight>
                <a:srgbClr val="FFFF00"/>
              </a:highlight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E4FBE58-C91C-DE9B-3429-590B8FDB1845}"/>
              </a:ext>
            </a:extLst>
          </p:cNvPr>
          <p:cNvGraphicFramePr>
            <a:graphicFrameLocks noGrp="1"/>
          </p:cNvGraphicFramePr>
          <p:nvPr/>
        </p:nvGraphicFramePr>
        <p:xfrm>
          <a:off x="6505088" y="2876155"/>
          <a:ext cx="4772332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3083">
                  <a:extLst>
                    <a:ext uri="{9D8B030D-6E8A-4147-A177-3AD203B41FA5}">
                      <a16:colId xmlns:a16="http://schemas.microsoft.com/office/drawing/2014/main" val="1934331220"/>
                    </a:ext>
                  </a:extLst>
                </a:gridCol>
                <a:gridCol w="1193083">
                  <a:extLst>
                    <a:ext uri="{9D8B030D-6E8A-4147-A177-3AD203B41FA5}">
                      <a16:colId xmlns:a16="http://schemas.microsoft.com/office/drawing/2014/main" val="102941081"/>
                    </a:ext>
                  </a:extLst>
                </a:gridCol>
                <a:gridCol w="1193083">
                  <a:extLst>
                    <a:ext uri="{9D8B030D-6E8A-4147-A177-3AD203B41FA5}">
                      <a16:colId xmlns:a16="http://schemas.microsoft.com/office/drawing/2014/main" val="4104475585"/>
                    </a:ext>
                  </a:extLst>
                </a:gridCol>
                <a:gridCol w="1193083">
                  <a:extLst>
                    <a:ext uri="{9D8B030D-6E8A-4147-A177-3AD203B41FA5}">
                      <a16:colId xmlns:a16="http://schemas.microsoft.com/office/drawing/2014/main" val="3497542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G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G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 P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20858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GN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9137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PS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92122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H-Sy5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6239708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6908A92-4DAC-C23B-2ECA-CE1537C7E9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580" y="1264596"/>
            <a:ext cx="5181420" cy="451411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083C119-4C66-E427-702E-6307F0251431}"/>
              </a:ext>
            </a:extLst>
          </p:cNvPr>
          <p:cNvSpPr txBox="1"/>
          <p:nvPr/>
        </p:nvSpPr>
        <p:spPr>
          <a:xfrm>
            <a:off x="470139" y="6360785"/>
            <a:ext cx="1813317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Edited From Joon</a:t>
            </a:r>
          </a:p>
        </p:txBody>
      </p:sp>
    </p:spTree>
    <p:extLst>
      <p:ext uri="{BB962C8B-B14F-4D97-AF65-F5344CB8AC3E}">
        <p14:creationId xmlns:p14="http://schemas.microsoft.com/office/powerpoint/2010/main" val="2112750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378959" y="1186916"/>
            <a:ext cx="7113831" cy="54373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 Summary: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) Both DEG and DSG were getting better from batch 1 , 2, and 3 in all the cell types tested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2) The DEG/DSG are quite different across 3 cell types. Sy5Y and iPSC were more similar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3)  The DEG/DSG are only overlapped with very low frequency. 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4)  The DEG/DSG events have to be considered together in SM induced alternative exon inclusion experiments. 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982811-6AF4-3EB3-8B1F-902420639E54}"/>
              </a:ext>
            </a:extLst>
          </p:cNvPr>
          <p:cNvSpPr txBox="1"/>
          <p:nvPr/>
        </p:nvSpPr>
        <p:spPr>
          <a:xfrm>
            <a:off x="8468139" y="1791727"/>
            <a:ext cx="3681667" cy="369332"/>
          </a:xfrm>
          <a:prstGeom prst="rect">
            <a:avLst/>
          </a:prstGeom>
          <a:noFill/>
          <a:ln w="28575">
            <a:solidFill>
              <a:srgbClr val="1206FF"/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Good Job from Chemistry Dept !)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C1704B2-0738-8C80-FE56-E16E6186BA88}"/>
              </a:ext>
            </a:extLst>
          </p:cNvPr>
          <p:cNvCxnSpPr/>
          <p:nvPr/>
        </p:nvCxnSpPr>
        <p:spPr>
          <a:xfrm flipH="1">
            <a:off x="7750222" y="1976393"/>
            <a:ext cx="717917" cy="0"/>
          </a:xfrm>
          <a:prstGeom prst="straightConnector1">
            <a:avLst/>
          </a:prstGeom>
          <a:ln w="28575">
            <a:solidFill>
              <a:srgbClr val="1206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BA85F4-02D1-8D80-01F8-524AC572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0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D6BAA4E-5F47-E640-8B90-67FB6D90528D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CA24EE4-BDF3-AE1D-CE4B-C5F2F556CAD9}"/>
              </a:ext>
            </a:extLst>
          </p:cNvPr>
          <p:cNvSpPr txBox="1"/>
          <p:nvPr/>
        </p:nvSpPr>
        <p:spPr>
          <a:xfrm>
            <a:off x="1771615" y="1238250"/>
            <a:ext cx="7479612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1206FF"/>
                </a:solidFill>
              </a:rPr>
              <a:t>Further Consideration</a:t>
            </a:r>
          </a:p>
          <a:p>
            <a:endParaRPr lang="en-US" b="1" dirty="0"/>
          </a:p>
          <a:p>
            <a:r>
              <a:rPr lang="en-US" b="1" dirty="0"/>
              <a:t>The outcome of Splicing modulator on target splicing could be influenced by </a:t>
            </a:r>
          </a:p>
          <a:p>
            <a:endParaRPr lang="en-US" dirty="0"/>
          </a:p>
          <a:p>
            <a:pPr marL="342900" indent="-342900">
              <a:buAutoNum type="arabicParenR"/>
            </a:pPr>
            <a:r>
              <a:rPr lang="en-US" dirty="0"/>
              <a:t>Transcript level :       if not expressed, we cannot detect as DEGs</a:t>
            </a:r>
          </a:p>
          <a:p>
            <a:pPr marL="342900" indent="-342900">
              <a:buAutoNum type="arabicParenR"/>
            </a:pPr>
            <a:r>
              <a:rPr lang="en-US" dirty="0"/>
              <a:t>Transcription rate :   provides pre-mRNA that could be the substrate of SM</a:t>
            </a:r>
          </a:p>
          <a:p>
            <a:pPr marL="342900" indent="-342900">
              <a:buAutoNum type="arabicParenR"/>
            </a:pPr>
            <a:r>
              <a:rPr lang="en-US" dirty="0"/>
              <a:t>Turnover rate :          how fast does the already spliced mRNA clears </a:t>
            </a:r>
          </a:p>
          <a:p>
            <a:pPr marL="342900" indent="-342900">
              <a:buAutoNum type="arabicParenR"/>
            </a:pP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CB807E-21A2-A7DF-9503-FB826E50768F}"/>
              </a:ext>
            </a:extLst>
          </p:cNvPr>
          <p:cNvSpPr txBox="1"/>
          <p:nvPr/>
        </p:nvSpPr>
        <p:spPr>
          <a:xfrm>
            <a:off x="470139" y="6360785"/>
            <a:ext cx="1813317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Edited From Joon</a:t>
            </a:r>
          </a:p>
        </p:txBody>
      </p:sp>
    </p:spTree>
    <p:extLst>
      <p:ext uri="{BB962C8B-B14F-4D97-AF65-F5344CB8AC3E}">
        <p14:creationId xmlns:p14="http://schemas.microsoft.com/office/powerpoint/2010/main" val="12120650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sign, Description and Aims: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B2E005-BA5F-E4A7-D47D-B7E5F4F47E52}"/>
              </a:ext>
            </a:extLst>
          </p:cNvPr>
          <p:cNvSpPr txBox="1"/>
          <p:nvPr/>
        </p:nvSpPr>
        <p:spPr>
          <a:xfrm>
            <a:off x="924119" y="1010517"/>
            <a:ext cx="10457161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Design:</a:t>
            </a:r>
          </a:p>
          <a:p>
            <a:r>
              <a:rPr lang="en-US" dirty="0"/>
              <a:t>7 SM compounds + DMSO vehicle (4 internal compounds, 3 competitor benchmark compounds, DMSO)</a:t>
            </a:r>
            <a:br>
              <a:rPr lang="en-US" dirty="0"/>
            </a:br>
            <a:endParaRPr lang="en-US" dirty="0"/>
          </a:p>
          <a:p>
            <a:r>
              <a:rPr lang="en-US" dirty="0"/>
              <a:t>-2 doses per compound (3x and 10x IC50)</a:t>
            </a:r>
            <a:br>
              <a:rPr lang="en-US" dirty="0"/>
            </a:br>
            <a:r>
              <a:rPr lang="en-US" dirty="0"/>
              <a:t>-4 biological replicates, and 3 were used in data analysis</a:t>
            </a:r>
            <a:br>
              <a:rPr lang="en-US" dirty="0"/>
            </a:br>
            <a:r>
              <a:rPr lang="en-US" dirty="0"/>
              <a:t>-3 cell lines (NGN2, iPSC, SH-SY5Y)</a:t>
            </a:r>
          </a:p>
          <a:p>
            <a:endParaRPr lang="en-US" dirty="0"/>
          </a:p>
          <a:p>
            <a:r>
              <a:rPr lang="en-US" dirty="0"/>
              <a:t>Description:</a:t>
            </a:r>
            <a:br>
              <a:rPr lang="en-US" dirty="0"/>
            </a:br>
            <a:r>
              <a:rPr lang="en-US" dirty="0"/>
              <a:t>-Total number of samples: 180</a:t>
            </a:r>
            <a:br>
              <a:rPr lang="en-US" dirty="0"/>
            </a:br>
            <a:r>
              <a:rPr lang="en-US" dirty="0"/>
              <a:t>-Bulk, </a:t>
            </a:r>
            <a:r>
              <a:rPr lang="en-US" dirty="0" err="1"/>
              <a:t>polyA</a:t>
            </a:r>
            <a:r>
              <a:rPr lang="en-US" dirty="0"/>
              <a:t>-selected, stranded, paired-end RNA-seq</a:t>
            </a:r>
            <a:br>
              <a:rPr lang="en-US" dirty="0"/>
            </a:br>
            <a:r>
              <a:rPr lang="en-US" dirty="0"/>
              <a:t>-75x75 or longer paired end sequencing</a:t>
            </a:r>
            <a:br>
              <a:rPr lang="en-US" dirty="0"/>
            </a:br>
            <a:endParaRPr lang="en-US" dirty="0"/>
          </a:p>
          <a:p>
            <a:r>
              <a:rPr lang="en-US" dirty="0"/>
              <a:t>Aims:</a:t>
            </a:r>
            <a:br>
              <a:rPr lang="en-US" dirty="0"/>
            </a:br>
            <a:r>
              <a:rPr lang="en-US" dirty="0"/>
              <a:t>-Explore DSG/DEG difference and relationship</a:t>
            </a:r>
          </a:p>
          <a:p>
            <a:r>
              <a:rPr lang="en-US" dirty="0"/>
              <a:t>-Comparison between compounds within each cell type to identify common and unique genes/events that are differentially spliced</a:t>
            </a:r>
          </a:p>
          <a:p>
            <a:r>
              <a:rPr lang="en-US" dirty="0"/>
              <a:t>-Comparison of OT DSGs between cell lines for each compound</a:t>
            </a:r>
            <a:br>
              <a:rPr lang="en-US" dirty="0"/>
            </a:br>
            <a:r>
              <a:rPr lang="en-US" dirty="0"/>
              <a:t>-Motif analysis for each compound differentially spliced eve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7225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4CFEEFBB-CAC1-5EEB-B871-6CABC12010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47A744C4-41FA-3298-9BD7-8E9AA162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8F0513F2-3793-8396-C53E-96F78D601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766739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E6D27CD7-413A-8993-D4D0-6718F8981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1367480"/>
            <a:ext cx="4804719" cy="4804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</a:t>
            </a: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4413365"/>
              </p:ext>
            </p:extLst>
          </p:nvPr>
        </p:nvGraphicFramePr>
        <p:xfrm>
          <a:off x="195327" y="2314754"/>
          <a:ext cx="5570474" cy="2638247"/>
        </p:xfrm>
        <a:graphic>
          <a:graphicData uri="http://schemas.openxmlformats.org/drawingml/2006/table">
            <a:tbl>
              <a:tblPr/>
              <a:tblGrid>
                <a:gridCol w="2132694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37780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363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363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R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6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88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T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                       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T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88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88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88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88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88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900" y="1757747"/>
            <a:ext cx="6137018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360426" y="5571123"/>
            <a:ext cx="41756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f: </a:t>
            </a:r>
          </a:p>
          <a:p>
            <a:r>
              <a:rPr lang="en-US" sz="1200" dirty="0" err="1"/>
              <a:t>Ratni</a:t>
            </a:r>
            <a:r>
              <a:rPr lang="en-US" sz="1200" dirty="0"/>
              <a:t> Roche review, </a:t>
            </a:r>
            <a:r>
              <a:rPr lang="en-US" sz="1200" i="1" dirty="0"/>
              <a:t>Progress Medicinal Chem V58, 2019</a:t>
            </a:r>
            <a:r>
              <a:rPr lang="en-US" sz="1200" dirty="0"/>
              <a:t> </a:t>
            </a:r>
          </a:p>
          <a:p>
            <a:r>
              <a:rPr lang="en-US" sz="1200" dirty="0"/>
              <a:t>Anuradha Bhattacharyya </a:t>
            </a:r>
            <a:r>
              <a:rPr lang="en-US" sz="1200" i="1" dirty="0"/>
              <a:t>et. Al. Nature Comm. 2021</a:t>
            </a:r>
            <a:endParaRPr lang="en-US" sz="12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FB47DE-CCD9-DD47-208F-5862DBFACA60}"/>
              </a:ext>
            </a:extLst>
          </p:cNvPr>
          <p:cNvSpPr/>
          <p:nvPr/>
        </p:nvSpPr>
        <p:spPr>
          <a:xfrm>
            <a:off x="7260464" y="4394200"/>
            <a:ext cx="302386" cy="400050"/>
          </a:xfrm>
          <a:prstGeom prst="rect">
            <a:avLst/>
          </a:prstGeom>
          <a:noFill/>
          <a:ln w="2540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80D2853-7ECF-A51B-EF0E-4CB228555C0F}"/>
              </a:ext>
            </a:extLst>
          </p:cNvPr>
          <p:cNvSpPr/>
          <p:nvPr/>
        </p:nvSpPr>
        <p:spPr>
          <a:xfrm>
            <a:off x="8845550" y="2921728"/>
            <a:ext cx="234950" cy="551722"/>
          </a:xfrm>
          <a:prstGeom prst="rect">
            <a:avLst/>
          </a:prstGeom>
          <a:noFill/>
          <a:ln w="25400">
            <a:solidFill>
              <a:srgbClr val="1206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29278DF-2CCB-30E1-55BF-8EDA4652CD03}"/>
              </a:ext>
            </a:extLst>
          </p:cNvPr>
          <p:cNvCxnSpPr>
            <a:cxnSpLocks/>
          </p:cNvCxnSpPr>
          <p:nvPr/>
        </p:nvCxnSpPr>
        <p:spPr>
          <a:xfrm>
            <a:off x="7467600" y="4394200"/>
            <a:ext cx="0" cy="40005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68226E7-3220-99BA-5B3F-FBA36276DA74}"/>
              </a:ext>
            </a:extLst>
          </p:cNvPr>
          <p:cNvCxnSpPr>
            <a:cxnSpLocks/>
          </p:cNvCxnSpPr>
          <p:nvPr/>
        </p:nvCxnSpPr>
        <p:spPr>
          <a:xfrm>
            <a:off x="7260464" y="4724400"/>
            <a:ext cx="302386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0422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E6D27CD7-413A-8993-D4D0-6718F8981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097" y="1408669"/>
            <a:ext cx="4804719" cy="4804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</a:t>
            </a:r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3C4F4AA4-065B-86E9-FC5D-5ED9E1D035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497" y="783884"/>
            <a:ext cx="3489323" cy="576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8486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PTC518/</a:t>
            </a:r>
            <a:r>
              <a:rPr lang="en-US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Branaplam</a:t>
            </a: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 in NGN2 cells and Risdiplam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in iPSC-MNs  </a:t>
            </a:r>
          </a:p>
        </p:txBody>
      </p:sp>
      <p:pic>
        <p:nvPicPr>
          <p:cNvPr id="5" name="Picture 4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4C5C2A72-9952-FDC7-CA89-D949DCD027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336" y="914400"/>
            <a:ext cx="5158946" cy="5158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6182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Main Goals of the </a:t>
            </a:r>
            <a:r>
              <a:rPr lang="en-US" sz="3600" dirty="0" err="1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RNAseq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2" y="1104152"/>
            <a:ext cx="11804987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 have fewer off-targets and but strong on-target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(iPSC and NGN2, Sy5Y)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>
            <a:normAutofit fontScale="90000"/>
          </a:bodyPr>
          <a:lstStyle/>
          <a:p>
            <a:r>
              <a:rPr lang="en-US" dirty="0"/>
              <a:t>RNA-seq Study #1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3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4 (</a:t>
            </a:r>
            <a:r>
              <a:rPr lang="en-US" dirty="0">
                <a:solidFill>
                  <a:srgbClr val="363838"/>
                </a:solidFill>
                <a:latin typeface="Arial" panose="020B0604020202020204"/>
              </a:rPr>
              <a:t>9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chmark/competitor HTT splice modulato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F96F0E-BCC1-A825-5C93-02E21D6E2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7400642"/>
              </p:ext>
            </p:extLst>
          </p:nvPr>
        </p:nvGraphicFramePr>
        <p:xfrm>
          <a:off x="388471" y="1653117"/>
          <a:ext cx="11419354" cy="3322591"/>
        </p:xfrm>
        <a:graphic>
          <a:graphicData uri="http://schemas.openxmlformats.org/drawingml/2006/table">
            <a:tbl>
              <a:tblPr/>
              <a:tblGrid>
                <a:gridCol w="1004773">
                  <a:extLst>
                    <a:ext uri="{9D8B030D-6E8A-4147-A177-3AD203B41FA5}">
                      <a16:colId xmlns:a16="http://schemas.microsoft.com/office/drawing/2014/main" val="3063336145"/>
                    </a:ext>
                  </a:extLst>
                </a:gridCol>
                <a:gridCol w="889475">
                  <a:extLst>
                    <a:ext uri="{9D8B030D-6E8A-4147-A177-3AD203B41FA5}">
                      <a16:colId xmlns:a16="http://schemas.microsoft.com/office/drawing/2014/main" val="359247868"/>
                    </a:ext>
                  </a:extLst>
                </a:gridCol>
                <a:gridCol w="867051">
                  <a:extLst>
                    <a:ext uri="{9D8B030D-6E8A-4147-A177-3AD203B41FA5}">
                      <a16:colId xmlns:a16="http://schemas.microsoft.com/office/drawing/2014/main" val="2726247421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409909500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1887377710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3996013326"/>
                    </a:ext>
                  </a:extLst>
                </a:gridCol>
                <a:gridCol w="979170">
                  <a:extLst>
                    <a:ext uri="{9D8B030D-6E8A-4147-A177-3AD203B41FA5}">
                      <a16:colId xmlns:a16="http://schemas.microsoft.com/office/drawing/2014/main" val="3624062358"/>
                    </a:ext>
                  </a:extLst>
                </a:gridCol>
                <a:gridCol w="926848">
                  <a:extLst>
                    <a:ext uri="{9D8B030D-6E8A-4147-A177-3AD203B41FA5}">
                      <a16:colId xmlns:a16="http://schemas.microsoft.com/office/drawing/2014/main" val="2218329636"/>
                    </a:ext>
                  </a:extLst>
                </a:gridCol>
                <a:gridCol w="657763">
                  <a:extLst>
                    <a:ext uri="{9D8B030D-6E8A-4147-A177-3AD203B41FA5}">
                      <a16:colId xmlns:a16="http://schemas.microsoft.com/office/drawing/2014/main" val="4000456751"/>
                    </a:ext>
                  </a:extLst>
                </a:gridCol>
                <a:gridCol w="956746">
                  <a:extLst>
                    <a:ext uri="{9D8B030D-6E8A-4147-A177-3AD203B41FA5}">
                      <a16:colId xmlns:a16="http://schemas.microsoft.com/office/drawing/2014/main" val="3380518609"/>
                    </a:ext>
                  </a:extLst>
                </a:gridCol>
                <a:gridCol w="966713">
                  <a:extLst>
                    <a:ext uri="{9D8B030D-6E8A-4147-A177-3AD203B41FA5}">
                      <a16:colId xmlns:a16="http://schemas.microsoft.com/office/drawing/2014/main" val="729076000"/>
                    </a:ext>
                  </a:extLst>
                </a:gridCol>
                <a:gridCol w="1554712">
                  <a:extLst>
                    <a:ext uri="{9D8B030D-6E8A-4147-A177-3AD203B41FA5}">
                      <a16:colId xmlns:a16="http://schemas.microsoft.com/office/drawing/2014/main" val="587500307"/>
                    </a:ext>
                  </a:extLst>
                </a:gridCol>
              </a:tblGrid>
              <a:tr h="5188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Dose (nM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iPSC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ctual X-fold IC50 (NGN2)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002365"/>
                  </a:ext>
                </a:extLst>
              </a:tr>
              <a:tr h="1895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7554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7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0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.1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7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2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Brana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28680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618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1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.9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9.6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13609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5981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5.1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5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3.3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04483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564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8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68.3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4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PTC 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541991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1367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xpected &lt;100nM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5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7.3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2.2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40.6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Close PTC518 analog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469021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194963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55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.3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3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6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err="1">
                          <a:solidFill>
                            <a:srgbClr val="0432FF"/>
                          </a:solidFill>
                          <a:effectLst/>
                          <a:latin typeface="Arial" panose="020B0604020202020204" pitchFamily="34" charset="0"/>
                        </a:rPr>
                        <a:t>Risdiplam</a:t>
                      </a:r>
                      <a:endParaRPr lang="en-US" sz="1000" b="1" i="0" u="none" strike="noStrike" dirty="0">
                        <a:solidFill>
                          <a:srgbClr val="0432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147338"/>
                  </a:ext>
                </a:extLst>
              </a:tr>
              <a:tr h="349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57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7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98.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71.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.06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05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3.5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6.8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/different cor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96916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70692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.4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4.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8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.9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6.0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6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9.8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53.6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Remix example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24063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BIO-206088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13.8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5.9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7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2.51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34.94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10000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87.87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94.43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Internal lead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996618"/>
                  </a:ext>
                </a:extLst>
              </a:tr>
              <a:tr h="1795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363838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483" marR="7483" marT="748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97623"/>
                  </a:ext>
                </a:extLst>
              </a:tr>
              <a:tr h="159632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ed after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NAseq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udy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0007284"/>
                  </a:ext>
                </a:extLst>
              </a:tr>
              <a:tr h="1596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Dosed correctly and used as reference across RNAseq studies</a:t>
                      </a: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83" marR="7483" marT="748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24935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EF312B5-4C51-C6D4-6430-5D4673366230}"/>
              </a:ext>
            </a:extLst>
          </p:cNvPr>
          <p:cNvSpPr txBox="1"/>
          <p:nvPr/>
        </p:nvSpPr>
        <p:spPr>
          <a:xfrm>
            <a:off x="0" y="6534165"/>
            <a:ext cx="1823448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/>
              <a:t>Edited From Catherine</a:t>
            </a:r>
          </a:p>
        </p:txBody>
      </p:sp>
    </p:spTree>
    <p:extLst>
      <p:ext uri="{BB962C8B-B14F-4D97-AF65-F5344CB8AC3E}">
        <p14:creationId xmlns:p14="http://schemas.microsoft.com/office/powerpoint/2010/main" val="428498437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A2B1F-1290-3245-A4F7-439D5A5FB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96" y="321605"/>
            <a:ext cx="11425211" cy="684355"/>
          </a:xfrm>
        </p:spPr>
        <p:txBody>
          <a:bodyPr>
            <a:normAutofit fontScale="90000"/>
          </a:bodyPr>
          <a:lstStyle/>
          <a:p>
            <a:r>
              <a:rPr lang="en-US" dirty="0"/>
              <a:t>RNA-seq Study #2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C6089-06DC-584A-A08A-6C668638E81B}"/>
              </a:ext>
            </a:extLst>
          </p:cNvPr>
          <p:cNvSpPr txBox="1"/>
          <p:nvPr/>
        </p:nvSpPr>
        <p:spPr>
          <a:xfrm>
            <a:off x="1068031" y="5309480"/>
            <a:ext cx="276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89L WT Cell lin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Cs (100K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GN2 (DIV14, 200K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CD0474-83FD-864D-9BEE-449A7EBAB2B4}"/>
              </a:ext>
            </a:extLst>
          </p:cNvPr>
          <p:cNvSpPr txBox="1"/>
          <p:nvPr/>
        </p:nvSpPr>
        <p:spPr>
          <a:xfrm>
            <a:off x="3835021" y="5309480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h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41D750-8F46-F94E-BF72-BE12397949BF}"/>
              </a:ext>
            </a:extLst>
          </p:cNvPr>
          <p:cNvSpPr txBox="1"/>
          <p:nvPr/>
        </p:nvSpPr>
        <p:spPr>
          <a:xfrm>
            <a:off x="5862946" y="53120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licat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biologic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C7115E-AEAA-AB4F-A641-341F45079EFF}"/>
              </a:ext>
            </a:extLst>
          </p:cNvPr>
          <p:cNvSpPr txBox="1"/>
          <p:nvPr/>
        </p:nvSpPr>
        <p:spPr>
          <a:xfrm>
            <a:off x="8356979" y="5314418"/>
            <a:ext cx="2766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mpl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2 (11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p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638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+ DMSO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54C766-EB57-1143-837A-F6CDC4809B16}"/>
              </a:ext>
            </a:extLst>
          </p:cNvPr>
          <p:cNvSpPr txBox="1"/>
          <p:nvPr/>
        </p:nvSpPr>
        <p:spPr>
          <a:xfrm>
            <a:off x="383393" y="901864"/>
            <a:ext cx="11301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al: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criptome-wide RNA-seq of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 BIIB lead compound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DA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neurons and proliferating cell type for off-target profiling in comparison of competitor compound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4A521D6-C9AC-C5BD-CC98-95A1DD3277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6122772"/>
              </p:ext>
            </p:extLst>
          </p:nvPr>
        </p:nvGraphicFramePr>
        <p:xfrm>
          <a:off x="457200" y="1785937"/>
          <a:ext cx="11277599" cy="2927985"/>
        </p:xfrm>
        <a:graphic>
          <a:graphicData uri="http://schemas.openxmlformats.org/drawingml/2006/table">
            <a:tbl>
              <a:tblPr/>
              <a:tblGrid>
                <a:gridCol w="1383132">
                  <a:extLst>
                    <a:ext uri="{9D8B030D-6E8A-4147-A177-3AD203B41FA5}">
                      <a16:colId xmlns:a16="http://schemas.microsoft.com/office/drawing/2014/main" val="3260472234"/>
                    </a:ext>
                  </a:extLst>
                </a:gridCol>
                <a:gridCol w="1103968">
                  <a:extLst>
                    <a:ext uri="{9D8B030D-6E8A-4147-A177-3AD203B41FA5}">
                      <a16:colId xmlns:a16="http://schemas.microsoft.com/office/drawing/2014/main" val="608131466"/>
                    </a:ext>
                  </a:extLst>
                </a:gridCol>
                <a:gridCol w="1535403">
                  <a:extLst>
                    <a:ext uri="{9D8B030D-6E8A-4147-A177-3AD203B41FA5}">
                      <a16:colId xmlns:a16="http://schemas.microsoft.com/office/drawing/2014/main" val="2833260983"/>
                    </a:ext>
                  </a:extLst>
                </a:gridCol>
                <a:gridCol w="1246722">
                  <a:extLst>
                    <a:ext uri="{9D8B030D-6E8A-4147-A177-3AD203B41FA5}">
                      <a16:colId xmlns:a16="http://schemas.microsoft.com/office/drawing/2014/main" val="2954554270"/>
                    </a:ext>
                  </a:extLst>
                </a:gridCol>
                <a:gridCol w="1018315">
                  <a:extLst>
                    <a:ext uri="{9D8B030D-6E8A-4147-A177-3AD203B41FA5}">
                      <a16:colId xmlns:a16="http://schemas.microsoft.com/office/drawing/2014/main" val="2662422452"/>
                    </a:ext>
                  </a:extLst>
                </a:gridCol>
                <a:gridCol w="942179">
                  <a:extLst>
                    <a:ext uri="{9D8B030D-6E8A-4147-A177-3AD203B41FA5}">
                      <a16:colId xmlns:a16="http://schemas.microsoft.com/office/drawing/2014/main" val="1223702174"/>
                    </a:ext>
                  </a:extLst>
                </a:gridCol>
                <a:gridCol w="964385">
                  <a:extLst>
                    <a:ext uri="{9D8B030D-6E8A-4147-A177-3AD203B41FA5}">
                      <a16:colId xmlns:a16="http://schemas.microsoft.com/office/drawing/2014/main" val="1428065285"/>
                    </a:ext>
                  </a:extLst>
                </a:gridCol>
                <a:gridCol w="951696">
                  <a:extLst>
                    <a:ext uri="{9D8B030D-6E8A-4147-A177-3AD203B41FA5}">
                      <a16:colId xmlns:a16="http://schemas.microsoft.com/office/drawing/2014/main" val="1107402157"/>
                    </a:ext>
                  </a:extLst>
                </a:gridCol>
                <a:gridCol w="2131799">
                  <a:extLst>
                    <a:ext uri="{9D8B030D-6E8A-4147-A177-3AD203B41FA5}">
                      <a16:colId xmlns:a16="http://schemas.microsoft.com/office/drawing/2014/main" val="2552154908"/>
                    </a:ext>
                  </a:extLst>
                </a:gridCol>
              </a:tblGrid>
              <a:tr h="4286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pound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HTRF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iPSC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nal NGN2 qPCR IC50 (</a:t>
                      </a:r>
                      <a:r>
                        <a:rPr lang="en-U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M</a:t>
                      </a:r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iPSC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0E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3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~10x IC50 (NGN2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0BB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ote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8673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00615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FERENCE</a:t>
                      </a:r>
                      <a:endParaRPr lang="en-US" sz="10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9739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542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reat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Puu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imidazopyridin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633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3970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idazopyridine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932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68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zimi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73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8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17103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0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lfur other RHS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49934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1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.9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d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490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9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66403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65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zole 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24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7474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xazole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64789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IO-2184741</a:t>
                      </a:r>
                    </a:p>
                  </a:txBody>
                  <a:tcPr marL="9525" marR="9525" marT="9525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.6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9525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6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</a:rPr>
                        <a:t>BENCHMARK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Remix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p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62912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MSO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18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58730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Structures of Some SM Splicing Enhancer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D3355B7-CDF0-8280-B1EA-35938AABB3B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940297" y="4025679"/>
          <a:ext cx="6979533" cy="2067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6" imgW="10004865" imgH="2965246" progId="ChemDraw.Document.6.0">
                  <p:embed/>
                </p:oleObj>
              </mc:Choice>
              <mc:Fallback>
                <p:oleObj name="CS ChemDraw Drawing" r:id="rId6" imgW="10004865" imgH="2965246" progId="ChemDraw.Document.6.0">
                  <p:embed/>
                  <p:pic>
                    <p:nvPicPr>
                      <p:cNvPr id="2" name="Object 1">
                        <a:extLst>
                          <a:ext uri="{FF2B5EF4-FFF2-40B4-BE49-F238E27FC236}">
                            <a16:creationId xmlns:a16="http://schemas.microsoft.com/office/drawing/2014/main" id="{6D3355B7-CDF0-8280-B1EA-35938AABB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0297" y="4025679"/>
                        <a:ext cx="6979533" cy="2067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7380893-B9CD-2CD5-7887-8E980358AAE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926825" y="948238"/>
          <a:ext cx="7006478" cy="2480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S ChemDraw Drawing" r:id="rId8" imgW="9446884" imgH="3340038" progId="ChemDraw.Document.6.0">
                  <p:embed/>
                </p:oleObj>
              </mc:Choice>
              <mc:Fallback>
                <p:oleObj name="CS ChemDraw Drawing" r:id="rId8" imgW="9446884" imgH="3340038" progId="ChemDraw.Document.6.0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B7380893-B9CD-2CD5-7887-8E980358A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26825" y="948238"/>
                        <a:ext cx="7006478" cy="2480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36A944-F5F8-AF7B-6F9D-0830F356B38C}"/>
              </a:ext>
            </a:extLst>
          </p:cNvPr>
          <p:cNvSpPr/>
          <p:nvPr/>
        </p:nvSpPr>
        <p:spPr>
          <a:xfrm>
            <a:off x="2293897" y="1901152"/>
            <a:ext cx="858645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6196E4-3CBF-B563-06C7-87B030850649}"/>
              </a:ext>
            </a:extLst>
          </p:cNvPr>
          <p:cNvSpPr/>
          <p:nvPr/>
        </p:nvSpPr>
        <p:spPr>
          <a:xfrm>
            <a:off x="7632974" y="1901152"/>
            <a:ext cx="926362" cy="324380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7475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C18A901-0072-B33A-7897-C127D1B9CB05}"/>
              </a:ext>
            </a:extLst>
          </p:cNvPr>
          <p:cNvSpPr txBox="1"/>
          <p:nvPr/>
        </p:nvSpPr>
        <p:spPr>
          <a:xfrm>
            <a:off x="577389" y="876178"/>
            <a:ext cx="9798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 bar graphs comparing the 3 batches of RNA-seq Number of DSG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4B7961-1311-3B5E-68D5-6740339D9F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508" y="1337805"/>
            <a:ext cx="5040132" cy="505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D9DCC4-6041-F828-5764-3CAC0917F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1540" y="1337805"/>
            <a:ext cx="5326595" cy="532659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D23C78C-B952-D45D-8E69-7A1EC31D506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S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6154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7FBBB86-4459-617A-22EB-CB675681D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1982" y="884678"/>
            <a:ext cx="4844979" cy="48589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BF570E5-D053-6DDC-8F81-36A6A31BB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612" y="931283"/>
            <a:ext cx="4765691" cy="47656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93C8C5D-D9BF-E70E-B85C-B1D73A265197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S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1398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DSG Induced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by 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4CFEEFBB-CAC1-5EEB-B871-6CABC120102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9832066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6" imgW="965200" imgH="609600" progId="Excel.Sheet.12">
                  <p:embed/>
                </p:oleObj>
              </mc:Choice>
              <mc:Fallback>
                <p:oleObj name="Worksheet" showAsIcon="1" r:id="rId6" imgW="965200" imgH="609600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4CFEEFBB-CAC1-5EEB-B871-6CABC12010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32066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47A744C4-41FA-3298-9BD7-8E9AA162BA6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088342" y="823233"/>
          <a:ext cx="8364990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28092400" imgH="34366200" progId="Excel.Sheet.12">
                  <p:embed/>
                </p:oleObj>
              </mc:Choice>
              <mc:Fallback>
                <p:oleObj name="Worksheet" r:id="rId8" imgW="28092400" imgH="34366200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47A744C4-41FA-3298-9BD7-8E9AA162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8342" y="823233"/>
                        <a:ext cx="8364990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F0513F2-3793-8396-C53E-96F78D60126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0985500" y="5631770"/>
          <a:ext cx="965200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10" imgW="965200" imgH="609600" progId="Excel.Sheet.12">
                  <p:embed/>
                </p:oleObj>
              </mc:Choice>
              <mc:Fallback>
                <p:oleObj name="Worksheet" showAsIcon="1" r:id="rId10" imgW="965200" imgH="609600" progId="Excel.Sheet.12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8F0513F2-3793-8396-C53E-96F78D601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985500" y="5631770"/>
                        <a:ext cx="965200" cy="609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B0EAE79-B0FB-698D-7378-A2249559D41A}"/>
              </a:ext>
            </a:extLst>
          </p:cNvPr>
          <p:cNvSpPr/>
          <p:nvPr/>
        </p:nvSpPr>
        <p:spPr>
          <a:xfrm>
            <a:off x="904114" y="3240600"/>
            <a:ext cx="8845550" cy="57150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084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oo3JWFNOgPMWDCrsw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911351E59E2D41B5F48397CF19BE0B" ma:contentTypeVersion="28" ma:contentTypeDescription="Create a new document." ma:contentTypeScope="" ma:versionID="4fe18916558ffc364c946f55d62e9c93">
  <xsd:schema xmlns:xsd="http://www.w3.org/2001/XMLSchema" xmlns:xs="http://www.w3.org/2001/XMLSchema" xmlns:p="http://schemas.microsoft.com/office/2006/metadata/properties" xmlns:ns2="4e4709c9-87d6-402e-95df-b29df3fed05a" xmlns:ns3="http://schemas.microsoft.com/sharepoint/v4" xmlns:ns4="137a3160-e39e-49ab-b94b-b867a58e3559" targetNamespace="http://schemas.microsoft.com/office/2006/metadata/properties" ma:root="true" ma:fieldsID="ffb3a5b69b384962de402e6ae0a06012" ns2:_="" ns3:_="" ns4:_="">
    <xsd:import namespace="4e4709c9-87d6-402e-95df-b29df3fed05a"/>
    <xsd:import namespace="http://schemas.microsoft.com/sharepoint/v4"/>
    <xsd:import namespace="137a3160-e39e-49ab-b94b-b867a58e3559"/>
    <xsd:element name="properties">
      <xsd:complexType>
        <xsd:sequence>
          <xsd:element name="documentManagement">
            <xsd:complexType>
              <xsd:all>
                <xsd:element ref="ns2:Multiline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IconOverlay" minOccurs="0"/>
                <xsd:element ref="ns4:SharedWithUsers" minOccurs="0"/>
                <xsd:element ref="ns4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4709c9-87d6-402e-95df-b29df3fed05a" elementFormDefault="qualified">
    <xsd:import namespace="http://schemas.microsoft.com/office/2006/documentManagement/types"/>
    <xsd:import namespace="http://schemas.microsoft.com/office/infopath/2007/PartnerControls"/>
    <xsd:element name="Multiline" ma:index="8" nillable="true" ma:displayName="Notes" ma:internalName="Notes0" ma:readOnly="false">
      <xsd:simpleType>
        <xsd:restriction base="dms:Note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da02e20-3405-48c8-b010-e0d39bee4d1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3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7a3160-e39e-49ab-b94b-b867a58e3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a7c2bf6-5ac2-4e55-858a-5b445ac41ad7}" ma:internalName="TaxCatchAll" ma:showField="CatchAllData" ma:web="137a3160-e39e-49ab-b94b-b867a58e3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Multiline xmlns="4e4709c9-87d6-402e-95df-b29df3fed05a" xsi:nil="true"/>
    <lcf76f155ced4ddcb4097134ff3c332f xmlns="4e4709c9-87d6-402e-95df-b29df3fed05a">
      <Terms xmlns="http://schemas.microsoft.com/office/infopath/2007/PartnerControls"/>
    </lcf76f155ced4ddcb4097134ff3c332f>
    <TaxCatchAll xmlns="137a3160-e39e-49ab-b94b-b867a58e3559" xsi:nil="true"/>
  </documentManagement>
</p:properties>
</file>

<file path=customXml/itemProps1.xml><?xml version="1.0" encoding="utf-8"?>
<ds:datastoreItem xmlns:ds="http://schemas.openxmlformats.org/officeDocument/2006/customXml" ds:itemID="{339CF365-962C-42C0-819A-2CA96D1570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B91B27B-169D-440E-9CFE-5938D83B28A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4709c9-87d6-402e-95df-b29df3fed05a"/>
    <ds:schemaRef ds:uri="http://schemas.microsoft.com/sharepoint/v4"/>
    <ds:schemaRef ds:uri="137a3160-e39e-49ab-b94b-b867a58e35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E0291B-B066-429F-89B2-385F7C3E5F65}">
  <ds:schemaRefs>
    <ds:schemaRef ds:uri="http://schemas.microsoft.com/office/2006/metadata/properties"/>
    <ds:schemaRef ds:uri="http://schemas.microsoft.com/office/infopath/2007/PartnerControls"/>
    <ds:schemaRef ds:uri="http://schemas.microsoft.com/sharepoint/v4"/>
    <ds:schemaRef ds:uri="4e4709c9-87d6-402e-95df-b29df3fed05a"/>
    <ds:schemaRef ds:uri="137a3160-e39e-49ab-b94b-b867a58e355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133</TotalTime>
  <Words>1269</Words>
  <Application>Microsoft Macintosh PowerPoint</Application>
  <PresentationFormat>Widescreen</PresentationFormat>
  <Paragraphs>495</Paragraphs>
  <Slides>2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rial</vt:lpstr>
      <vt:lpstr>Arial Narrow</vt:lpstr>
      <vt:lpstr>Calibri</vt:lpstr>
      <vt:lpstr>Calibri Light</vt:lpstr>
      <vt:lpstr>Wingdings</vt:lpstr>
      <vt:lpstr>Office Theme</vt:lpstr>
      <vt:lpstr>think-cell Slide</vt:lpstr>
      <vt:lpstr>CS ChemDraw Drawing</vt:lpstr>
      <vt:lpstr>Worksheet</vt:lpstr>
      <vt:lpstr>PowerPoint Presentation</vt:lpstr>
      <vt:lpstr>PowerPoint Presentation</vt:lpstr>
      <vt:lpstr>PowerPoint Presentation</vt:lpstr>
      <vt:lpstr>RNA-seq Study #1</vt:lpstr>
      <vt:lpstr>RNA-seq Study #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iog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on Lee</dc:creator>
  <cp:lastModifiedBy>Zhen Gao</cp:lastModifiedBy>
  <cp:revision>11</cp:revision>
  <dcterms:created xsi:type="dcterms:W3CDTF">2023-04-24T14:22:28Z</dcterms:created>
  <dcterms:modified xsi:type="dcterms:W3CDTF">2023-07-18T15:1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911351E59E2D41B5F48397CF19BE0B</vt:lpwstr>
  </property>
  <property fmtid="{D5CDD505-2E9C-101B-9397-08002B2CF9AE}" pid="3" name="MediaServiceImageTags">
    <vt:lpwstr/>
  </property>
</Properties>
</file>